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323" r:id="rId3"/>
    <p:sldId id="1279" r:id="rId4"/>
    <p:sldId id="257" r:id="rId5"/>
    <p:sldId id="276" r:id="rId6"/>
    <p:sldId id="1396" r:id="rId7"/>
    <p:sldId id="260" r:id="rId8"/>
    <p:sldId id="422" r:id="rId9"/>
    <p:sldId id="285" r:id="rId10"/>
    <p:sldId id="591" r:id="rId11"/>
    <p:sldId id="1397" r:id="rId12"/>
    <p:sldId id="262" r:id="rId13"/>
    <p:sldId id="307" r:id="rId14"/>
    <p:sldId id="1207" r:id="rId15"/>
    <p:sldId id="583" r:id="rId16"/>
  </p:sldIdLst>
  <p:sldSz cx="9144000" cy="6858000" type="screen4x3"/>
  <p:notesSz cx="6888163" cy="100187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3" autoAdjust="0"/>
    <p:restoredTop sz="95106" autoAdjust="0"/>
  </p:normalViewPr>
  <p:slideViewPr>
    <p:cSldViewPr>
      <p:cViewPr varScale="1">
        <p:scale>
          <a:sx n="103" d="100"/>
          <a:sy n="103" d="100"/>
        </p:scale>
        <p:origin x="1120" y="51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8" d="100"/>
        <a:sy n="98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2347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1" cy="502676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1" cy="502676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r">
              <a:defRPr sz="1200"/>
            </a:lvl1pPr>
          </a:lstStyle>
          <a:p>
            <a:fld id="{EA875EDA-B7A1-46A7-98ED-E2925D67A80B}" type="datetimeFigureOut">
              <a:rPr lang="de-CH" smtClean="0"/>
              <a:t>03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89038" y="1252538"/>
            <a:ext cx="45100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89" tIns="45994" rIns="91989" bIns="45994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817" y="4821506"/>
            <a:ext cx="5510530" cy="3944869"/>
          </a:xfrm>
          <a:prstGeom prst="rect">
            <a:avLst/>
          </a:prstGeom>
        </p:spPr>
        <p:txBody>
          <a:bodyPr vert="horz" lIns="91989" tIns="45994" rIns="91989" bIns="45994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516041"/>
            <a:ext cx="2984871" cy="50267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1699" y="9516041"/>
            <a:ext cx="2984871" cy="50267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r">
              <a:defRPr sz="1200"/>
            </a:lvl1pPr>
          </a:lstStyle>
          <a:p>
            <a:fld id="{C1772F81-E3B0-4E53-B008-06293B5CED5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96275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7465" indent="-287465">
              <a:buFont typeface="Arial" panose="020B0604020202020204" pitchFamily="34" charset="0"/>
              <a:buChar char="•"/>
            </a:pPr>
            <a:endParaRPr lang="de-CH" sz="16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772F81-E3B0-4E53-B008-06293B5CED5A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584731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11698" indent="-273241"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094554" indent="-217640"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533010" indent="-217640"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1969878" indent="-217640"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427398" indent="-217640" defTabSz="88009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884918" indent="-217640" defTabSz="88009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342438" indent="-217640" defTabSz="88009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799958" indent="-217640" defTabSz="88009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fld id="{7AE654CF-FE0F-42BA-9A30-1F106CBC36B6}" type="slidenum">
              <a:rPr lang="de-DE" altLang="de-DE" sz="1200">
                <a:latin typeface="Times New Roman" panose="02020603050405020304" pitchFamily="18" charset="0"/>
              </a:rPr>
              <a:pPr/>
              <a:t>10</a:t>
            </a:fld>
            <a:endParaRPr lang="de-DE" altLang="de-DE" sz="1200">
              <a:latin typeface="Times New Roman" panose="02020603050405020304" pitchFamily="18" charset="0"/>
            </a:endParaRPr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2213" y="727075"/>
            <a:ext cx="4562475" cy="3422650"/>
          </a:xfrm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5347" y="4369976"/>
            <a:ext cx="5095946" cy="4148880"/>
          </a:xfrm>
          <a:noFill/>
        </p:spPr>
        <p:txBody>
          <a:bodyPr/>
          <a:lstStyle/>
          <a:p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3857459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11698" indent="-273241"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094554" indent="-217640"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533010" indent="-217640"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1969878" indent="-217640" defTabSz="880091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427398" indent="-217640" defTabSz="88009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884918" indent="-217640" defTabSz="88009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342438" indent="-217640" defTabSz="88009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799958" indent="-217640" defTabSz="88009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fld id="{7AE654CF-FE0F-42BA-9A30-1F106CBC36B6}" type="slidenum">
              <a:rPr lang="de-DE" altLang="de-DE" sz="1200">
                <a:latin typeface="Times New Roman" panose="02020603050405020304" pitchFamily="18" charset="0"/>
              </a:rPr>
              <a:pPr/>
              <a:t>11</a:t>
            </a:fld>
            <a:endParaRPr lang="de-DE" altLang="de-DE" sz="1200">
              <a:latin typeface="Times New Roman" panose="02020603050405020304" pitchFamily="18" charset="0"/>
            </a:endParaRPr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2213" y="727075"/>
            <a:ext cx="4562475" cy="3422650"/>
          </a:xfrm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5347" y="4369976"/>
            <a:ext cx="5095946" cy="4148880"/>
          </a:xfrm>
          <a:noFill/>
        </p:spPr>
        <p:txBody>
          <a:bodyPr/>
          <a:lstStyle/>
          <a:p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9578114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772F81-E3B0-4E53-B008-06293B5CED5A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84829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einz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772F81-E3B0-4E53-B008-06293B5CED5A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680369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772F81-E3B0-4E53-B008-06293B5CED5A}" type="slidenum">
              <a:rPr lang="de-CH" smtClean="0"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868309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227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13137" indent="-274283" defTabSz="88227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097133" indent="-219426" defTabSz="88227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35986" indent="-219426" defTabSz="88227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974839" indent="-219426" defTabSz="88227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13692" indent="-219426" defTabSz="8822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852546" indent="-219426" defTabSz="8822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91399" indent="-219426" defTabSz="8822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730252" indent="-219426" defTabSz="8822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AE760E4-33FE-46A4-807E-6557F728B4F9}" type="slidenum">
              <a:rPr lang="de-DE" smtClean="0">
                <a:latin typeface="Times New Roman" pitchFamily="18" charset="0"/>
              </a:rPr>
              <a:pPr eaLnBrk="1" hangingPunct="1"/>
              <a:t>15</a:t>
            </a:fld>
            <a:endParaRPr lang="de-DE">
              <a:latin typeface="Times New Roman" pitchFamily="18" charset="0"/>
            </a:endParaRPr>
          </a:p>
        </p:txBody>
      </p:sp>
      <p:sp>
        <p:nvSpPr>
          <p:cNvPr id="1249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03325" y="728663"/>
            <a:ext cx="4565650" cy="3424237"/>
          </a:xfrm>
          <a:solidFill>
            <a:srgbClr val="FFFFFF"/>
          </a:solidFill>
          <a:ln/>
        </p:spPr>
      </p:sp>
      <p:sp>
        <p:nvSpPr>
          <p:cNvPr id="1249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8913" y="4372804"/>
            <a:ext cx="5110564" cy="415215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91627" tIns="45814" rIns="91627" bIns="45814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6983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772F81-E3B0-4E53-B008-06293B5CED5A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31217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021282" y="9721494"/>
            <a:ext cx="3076364" cy="51148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032" tIns="49516" rIns="99032" bIns="49516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68656" indent="-295637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82548" indent="-23651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55567" indent="-23651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128586" indent="-23651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601605" indent="-23651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074624" indent="-23651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547643" indent="-23651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4020663" indent="-23651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88000"/>
              </a:lnSpc>
              <a:spcAft>
                <a:spcPct val="50000"/>
              </a:spcAft>
            </a:pPr>
            <a:fld id="{7BA70E9E-30C0-CD41-B40B-14B4E7F17F4D}" type="slidenum">
              <a:rPr lang="de-DE" sz="1800">
                <a:solidFill>
                  <a:srgbClr val="00CC99"/>
                </a:solidFill>
              </a:rPr>
              <a:pPr eaLnBrk="1" hangingPunct="1">
                <a:lnSpc>
                  <a:spcPct val="88000"/>
                </a:lnSpc>
                <a:spcAft>
                  <a:spcPct val="50000"/>
                </a:spcAft>
              </a:pPr>
              <a:t>3</a:t>
            </a:fld>
            <a:endParaRPr lang="de-DE" sz="1800">
              <a:solidFill>
                <a:srgbClr val="00CC99"/>
              </a:solidFill>
            </a:endParaRP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60500" y="900113"/>
            <a:ext cx="4168775" cy="3127375"/>
          </a:xfrm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379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e-CH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772F81-E3B0-4E53-B008-06293B5CED5A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92951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772F81-E3B0-4E53-B008-06293B5CED5A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567812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3470" indent="-285950"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800" indent="-228760"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1320" indent="-228760"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8840" indent="-228760"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6360" indent="-228760" defTabSz="95793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3880" indent="-228760" defTabSz="95793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1400" indent="-228760" defTabSz="95793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8920" indent="-228760" defTabSz="95793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CC6E6CC-DB1D-471E-B351-CE8164DE0BF1}" type="slidenum">
              <a:rPr lang="de-CH" altLang="de-DE" sz="1300"/>
              <a:pPr>
                <a:spcBef>
                  <a:spcPct val="0"/>
                </a:spcBef>
              </a:pPr>
              <a:t>6</a:t>
            </a:fld>
            <a:endParaRPr lang="de-CH" altLang="de-DE" sz="1300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47788" y="647700"/>
            <a:ext cx="4318000" cy="3238500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157" y="4101640"/>
            <a:ext cx="5143359" cy="3885181"/>
          </a:xfrm>
          <a:noFill/>
        </p:spPr>
        <p:txBody>
          <a:bodyPr/>
          <a:lstStyle/>
          <a:p>
            <a:pPr eaLnBrk="1" hangingPunct="1"/>
            <a:endParaRPr lang="de-DE" alt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6211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772F81-E3B0-4E53-B008-06293B5CED5A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50748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3470" indent="-285950"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800" indent="-228760"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1320" indent="-228760"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8840" indent="-228760" defTabSz="95793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6360" indent="-228760" defTabSz="95793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3880" indent="-228760" defTabSz="95793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1400" indent="-228760" defTabSz="95793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8920" indent="-228760" defTabSz="95793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08C96ECE-5718-4E63-8BAC-E679767A9098}" type="slidenum">
              <a:rPr lang="de-CH" altLang="de-DE" sz="1300"/>
              <a:pPr>
                <a:spcBef>
                  <a:spcPct val="0"/>
                </a:spcBef>
              </a:pPr>
              <a:t>8</a:t>
            </a:fld>
            <a:endParaRPr lang="de-CH" altLang="de-DE" sz="1300"/>
          </a:p>
        </p:txBody>
      </p:sp>
      <p:sp>
        <p:nvSpPr>
          <p:cNvPr id="36867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35157" y="4104395"/>
            <a:ext cx="5143359" cy="363425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076" tIns="45230" rIns="92076" bIns="45230"/>
          <a:lstStyle/>
          <a:p>
            <a:pPr defTabSz="919806" eaLnBrk="1" hangingPunct="1"/>
            <a:endParaRPr lang="de-DE" altLang="de-DE" dirty="0">
              <a:latin typeface="Arial" panose="020B0604020202020204" pitchFamily="34" charset="0"/>
            </a:endParaRPr>
          </a:p>
        </p:txBody>
      </p:sp>
      <p:sp>
        <p:nvSpPr>
          <p:cNvPr id="36868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495300"/>
            <a:ext cx="4718050" cy="3538538"/>
          </a:xfrm>
          <a:noFill/>
          <a:ln w="12700" cap="flat">
            <a:solidFill>
              <a:schemeClr val="tx1"/>
            </a:solidFill>
          </a:ln>
        </p:spPr>
      </p:sp>
    </p:spTree>
    <p:extLst>
      <p:ext uri="{BB962C8B-B14F-4D97-AF65-F5344CB8AC3E}">
        <p14:creationId xmlns:p14="http://schemas.microsoft.com/office/powerpoint/2010/main" val="28318068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7263" y="538163"/>
            <a:ext cx="5111750" cy="3835400"/>
          </a:xfrm>
          <a:ln cap="flat">
            <a:solidFill>
              <a:schemeClr val="tx1"/>
            </a:solidFill>
          </a:ln>
        </p:spPr>
      </p:sp>
      <p:sp>
        <p:nvSpPr>
          <p:cNvPr id="1208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9920" y="4431488"/>
            <a:ext cx="5861100" cy="4207293"/>
          </a:xfrm>
          <a:noFill/>
        </p:spPr>
        <p:txBody>
          <a:bodyPr lIns="93935" tIns="46969" rIns="93935" bIns="46969"/>
          <a:lstStyle/>
          <a:p>
            <a:endParaRPr lang="de-DE" altLang="de-DE" dirty="0">
              <a:latin typeface="Times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271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43C8EC-4EAF-4C49-A72D-8868973CB68D}" type="datetimeFigureOut">
              <a:rPr lang="de-CH" smtClean="0"/>
              <a:pPr/>
              <a:t>03.09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613D0A-8FE3-457E-88AB-245937681B9F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948264" y="548680"/>
            <a:ext cx="1668498" cy="706089"/>
          </a:xfrm>
          <a:prstGeom prst="rect">
            <a:avLst/>
          </a:prstGeom>
        </p:spPr>
      </p:pic>
      <p:cxnSp>
        <p:nvCxnSpPr>
          <p:cNvPr id="9" name="Gerader Verbinder 8"/>
          <p:cNvCxnSpPr/>
          <p:nvPr userDrawn="1"/>
        </p:nvCxnSpPr>
        <p:spPr>
          <a:xfrm>
            <a:off x="457200" y="1417638"/>
            <a:ext cx="82296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42786"/>
            <a:ext cx="7772400" cy="1470025"/>
          </a:xfrm>
        </p:spPr>
        <p:txBody>
          <a:bodyPr>
            <a:normAutofit/>
          </a:bodyPr>
          <a:lstStyle/>
          <a:p>
            <a:pPr algn="ctr"/>
            <a:r>
              <a:rPr lang="de-CH" sz="4000" b="1" dirty="0"/>
              <a:t>Innovatives Denken und Handeln</a:t>
            </a:r>
            <a:br>
              <a:rPr lang="de-CH" sz="4000" b="1" dirty="0"/>
            </a:br>
            <a:r>
              <a:rPr lang="de-CH" sz="4000" b="1" dirty="0"/>
              <a:t>in den Club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7544" y="3861048"/>
            <a:ext cx="8208912" cy="1752600"/>
          </a:xfrm>
        </p:spPr>
        <p:txBody>
          <a:bodyPr>
            <a:noAutofit/>
          </a:bodyPr>
          <a:lstStyle/>
          <a:p>
            <a:r>
              <a:rPr lang="de-CH" sz="2800" b="1" dirty="0">
                <a:solidFill>
                  <a:schemeClr val="accent1">
                    <a:lumMod val="75000"/>
                  </a:schemeClr>
                </a:solidFill>
              </a:rPr>
              <a:t>Präsidentinnen- und Präsidenten-Konferenz</a:t>
            </a:r>
          </a:p>
          <a:p>
            <a:pPr>
              <a:spcBef>
                <a:spcPts val="0"/>
              </a:spcBef>
            </a:pPr>
            <a:r>
              <a:rPr lang="de-CH" sz="2800" b="1" dirty="0">
                <a:solidFill>
                  <a:schemeClr val="accent1">
                    <a:lumMod val="75000"/>
                  </a:schemeClr>
                </a:solidFill>
              </a:rPr>
              <a:t>Distrikt Schweiz/FL</a:t>
            </a:r>
          </a:p>
          <a:p>
            <a:endParaRPr lang="de-CH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de-CH" sz="1800" dirty="0">
                <a:solidFill>
                  <a:schemeClr val="accent1">
                    <a:lumMod val="75000"/>
                  </a:schemeClr>
                </a:solidFill>
              </a:rPr>
              <a:t>Beat Birkenmeier, Präsident </a:t>
            </a:r>
            <a:r>
              <a:rPr lang="de-CH" sz="1800" dirty="0" err="1">
                <a:solidFill>
                  <a:schemeClr val="accent1">
                    <a:lumMod val="75000"/>
                  </a:schemeClr>
                </a:solidFill>
              </a:rPr>
              <a:t>Panathlon</a:t>
            </a:r>
            <a:r>
              <a:rPr lang="de-CH" sz="1800" dirty="0">
                <a:solidFill>
                  <a:schemeClr val="accent1">
                    <a:lumMod val="75000"/>
                  </a:schemeClr>
                </a:solidFill>
              </a:rPr>
              <a:t> Club Zürichsee-Oberland</a:t>
            </a:r>
            <a:endParaRPr lang="de-CH" sz="1800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de-CH" sz="18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de-CH" sz="1400" dirty="0">
                <a:solidFill>
                  <a:schemeClr val="accent1">
                    <a:lumMod val="75000"/>
                  </a:schemeClr>
                </a:solidFill>
              </a:rPr>
              <a:t>Gümligen, 30.08.2024</a:t>
            </a:r>
          </a:p>
          <a:p>
            <a:endParaRPr lang="de-CH" sz="40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el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143000"/>
          </a:xfrm>
        </p:spPr>
        <p:txBody>
          <a:bodyPr vert="horz" lIns="91350" tIns="45677" rIns="91350" bIns="45677"/>
          <a:lstStyle/>
          <a:p>
            <a:pPr eaLnBrk="1" hangingPunct="1"/>
            <a:r>
              <a:rPr lang="de-CH" altLang="de-DE" dirty="0"/>
              <a:t>Worauf basiert Kreativität?</a:t>
            </a:r>
            <a:endParaRPr lang="en-GB" altLang="de-DE" dirty="0"/>
          </a:p>
        </p:txBody>
      </p:sp>
      <p:sp>
        <p:nvSpPr>
          <p:cNvPr id="20485" name="Line 3"/>
          <p:cNvSpPr>
            <a:spLocks noChangeShapeType="1"/>
          </p:cNvSpPr>
          <p:nvPr/>
        </p:nvSpPr>
        <p:spPr bwMode="auto">
          <a:xfrm>
            <a:off x="1200150" y="2060848"/>
            <a:ext cx="3902075" cy="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486" name="Line 4"/>
          <p:cNvSpPr>
            <a:spLocks noChangeShapeType="1"/>
          </p:cNvSpPr>
          <p:nvPr/>
        </p:nvSpPr>
        <p:spPr bwMode="auto">
          <a:xfrm>
            <a:off x="1200150" y="2975249"/>
            <a:ext cx="3902075" cy="9414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487" name="Line 5"/>
          <p:cNvSpPr>
            <a:spLocks noChangeShapeType="1"/>
          </p:cNvSpPr>
          <p:nvPr/>
        </p:nvSpPr>
        <p:spPr bwMode="auto">
          <a:xfrm>
            <a:off x="1977872" y="2492649"/>
            <a:ext cx="7620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488" name="Line 6"/>
          <p:cNvSpPr>
            <a:spLocks noChangeShapeType="1"/>
          </p:cNvSpPr>
          <p:nvPr/>
        </p:nvSpPr>
        <p:spPr bwMode="auto">
          <a:xfrm>
            <a:off x="2936875" y="2492649"/>
            <a:ext cx="7620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490" name="Line 8"/>
          <p:cNvSpPr>
            <a:spLocks noChangeShapeType="1"/>
          </p:cNvSpPr>
          <p:nvPr/>
        </p:nvSpPr>
        <p:spPr bwMode="auto">
          <a:xfrm>
            <a:off x="3902075" y="2492649"/>
            <a:ext cx="7620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491" name="Text Box 9"/>
          <p:cNvSpPr txBox="1">
            <a:spLocks noChangeArrowheads="1"/>
          </p:cNvSpPr>
          <p:nvPr/>
        </p:nvSpPr>
        <p:spPr bwMode="auto">
          <a:xfrm>
            <a:off x="5102225" y="2289449"/>
            <a:ext cx="11176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de-DE" altLang="de-DE" sz="18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ösung</a:t>
            </a:r>
          </a:p>
        </p:txBody>
      </p:sp>
      <p:sp>
        <p:nvSpPr>
          <p:cNvPr id="20492" name="Text Box 10"/>
          <p:cNvSpPr txBox="1">
            <a:spLocks noChangeArrowheads="1"/>
          </p:cNvSpPr>
          <p:nvPr/>
        </p:nvSpPr>
        <p:spPr bwMode="auto">
          <a:xfrm>
            <a:off x="609600" y="2289449"/>
            <a:ext cx="120967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de-DE" altLang="de-DE" sz="18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blem</a:t>
            </a:r>
          </a:p>
        </p:txBody>
      </p:sp>
      <p:sp>
        <p:nvSpPr>
          <p:cNvPr id="20493" name="Text Box 11"/>
          <p:cNvSpPr txBox="1">
            <a:spLocks noChangeArrowheads="1"/>
          </p:cNvSpPr>
          <p:nvPr/>
        </p:nvSpPr>
        <p:spPr bwMode="auto">
          <a:xfrm>
            <a:off x="6569670" y="2022772"/>
            <a:ext cx="135428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/>
            <a:r>
              <a:rPr lang="de-DE" altLang="de-DE" sz="1800" b="1" dirty="0" err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n</a:t>
            </a:r>
            <a:r>
              <a:rPr lang="de-DE" altLang="de-DE" sz="1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</a:t>
            </a:r>
            <a:br>
              <a:rPr lang="de-DE" altLang="de-DE" sz="1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800" b="1" dirty="0" err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ntionelles</a:t>
            </a:r>
            <a:endParaRPr lang="de-DE" altLang="de-DE" sz="1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de-DE" altLang="de-DE" sz="1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nkmuster</a:t>
            </a:r>
          </a:p>
        </p:txBody>
      </p:sp>
      <p:grpSp>
        <p:nvGrpSpPr>
          <p:cNvPr id="648230" name="Group 38"/>
          <p:cNvGrpSpPr>
            <a:grpSpLocks/>
          </p:cNvGrpSpPr>
          <p:nvPr/>
        </p:nvGrpSpPr>
        <p:grpSpPr bwMode="auto">
          <a:xfrm>
            <a:off x="609600" y="3192968"/>
            <a:ext cx="5133975" cy="3224213"/>
            <a:chOff x="366" y="1930"/>
            <a:chExt cx="3234" cy="2031"/>
          </a:xfrm>
        </p:grpSpPr>
        <p:sp>
          <p:nvSpPr>
            <p:cNvPr id="20500" name="Line 13"/>
            <p:cNvSpPr>
              <a:spLocks noChangeShapeType="1"/>
            </p:cNvSpPr>
            <p:nvPr/>
          </p:nvSpPr>
          <p:spPr bwMode="auto">
            <a:xfrm>
              <a:off x="820" y="2706"/>
              <a:ext cx="117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01" name="Line 14"/>
            <p:cNvSpPr>
              <a:spLocks noChangeShapeType="1"/>
            </p:cNvSpPr>
            <p:nvPr/>
          </p:nvSpPr>
          <p:spPr bwMode="auto">
            <a:xfrm>
              <a:off x="820" y="3282"/>
              <a:ext cx="117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02" name="Line 15"/>
            <p:cNvSpPr>
              <a:spLocks noChangeShapeType="1"/>
            </p:cNvSpPr>
            <p:nvPr/>
          </p:nvSpPr>
          <p:spPr bwMode="auto">
            <a:xfrm>
              <a:off x="1252" y="2978"/>
              <a:ext cx="4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03" name="Line 16"/>
            <p:cNvSpPr>
              <a:spLocks noChangeShapeType="1"/>
            </p:cNvSpPr>
            <p:nvPr/>
          </p:nvSpPr>
          <p:spPr bwMode="auto">
            <a:xfrm>
              <a:off x="3076" y="2978"/>
              <a:ext cx="4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04" name="Line 17"/>
            <p:cNvSpPr>
              <a:spLocks noChangeShapeType="1"/>
            </p:cNvSpPr>
            <p:nvPr/>
          </p:nvSpPr>
          <p:spPr bwMode="auto">
            <a:xfrm>
              <a:off x="2468" y="2978"/>
              <a:ext cx="4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05" name="Text Box 19"/>
            <p:cNvSpPr txBox="1">
              <a:spLocks noChangeArrowheads="1"/>
            </p:cNvSpPr>
            <p:nvPr/>
          </p:nvSpPr>
          <p:spPr bwMode="auto">
            <a:xfrm>
              <a:off x="366" y="2850"/>
              <a:ext cx="790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r>
                <a:rPr lang="de-DE" altLang="de-DE" sz="18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blem</a:t>
              </a:r>
            </a:p>
          </p:txBody>
        </p:sp>
        <p:sp>
          <p:nvSpPr>
            <p:cNvPr id="20506" name="Oval 20"/>
            <p:cNvSpPr>
              <a:spLocks noChangeArrowheads="1"/>
            </p:cNvSpPr>
            <p:nvPr/>
          </p:nvSpPr>
          <p:spPr bwMode="auto">
            <a:xfrm>
              <a:off x="1800" y="2738"/>
              <a:ext cx="576" cy="52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algn="ctr"/>
              <a:r>
                <a:rPr lang="de-DE" altLang="de-DE" sz="1400" b="1" dirty="0">
                  <a:solidFill>
                    <a:srgbClr val="FF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Zufälliger</a:t>
              </a:r>
            </a:p>
            <a:p>
              <a:pPr algn="ctr"/>
              <a:r>
                <a:rPr lang="de-DE" altLang="de-DE" sz="1400" b="1" dirty="0">
                  <a:solidFill>
                    <a:srgbClr val="FF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reiz</a:t>
              </a:r>
            </a:p>
          </p:txBody>
        </p:sp>
        <p:sp>
          <p:nvSpPr>
            <p:cNvPr id="20507" name="Line 21"/>
            <p:cNvSpPr>
              <a:spLocks noChangeShapeType="1"/>
            </p:cNvSpPr>
            <p:nvPr/>
          </p:nvSpPr>
          <p:spPr bwMode="auto">
            <a:xfrm flipV="1">
              <a:off x="1992" y="2130"/>
              <a:ext cx="816" cy="576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08" name="Line 22"/>
            <p:cNvSpPr>
              <a:spLocks noChangeShapeType="1"/>
            </p:cNvSpPr>
            <p:nvPr/>
          </p:nvSpPr>
          <p:spPr bwMode="auto">
            <a:xfrm flipV="1">
              <a:off x="2352" y="2226"/>
              <a:ext cx="864" cy="48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09" name="Line 23"/>
            <p:cNvSpPr>
              <a:spLocks noChangeShapeType="1"/>
            </p:cNvSpPr>
            <p:nvPr/>
          </p:nvSpPr>
          <p:spPr bwMode="auto">
            <a:xfrm>
              <a:off x="2376" y="2706"/>
              <a:ext cx="117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10" name="Line 24"/>
            <p:cNvSpPr>
              <a:spLocks noChangeShapeType="1"/>
            </p:cNvSpPr>
            <p:nvPr/>
          </p:nvSpPr>
          <p:spPr bwMode="auto">
            <a:xfrm>
              <a:off x="2328" y="3282"/>
              <a:ext cx="117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11" name="Line 25"/>
            <p:cNvSpPr>
              <a:spLocks noChangeShapeType="1"/>
            </p:cNvSpPr>
            <p:nvPr/>
          </p:nvSpPr>
          <p:spPr bwMode="auto">
            <a:xfrm flipH="1" flipV="1">
              <a:off x="1984" y="3282"/>
              <a:ext cx="816" cy="576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12" name="Line 26"/>
            <p:cNvSpPr>
              <a:spLocks noChangeShapeType="1"/>
            </p:cNvSpPr>
            <p:nvPr/>
          </p:nvSpPr>
          <p:spPr bwMode="auto">
            <a:xfrm flipH="1" flipV="1">
              <a:off x="2336" y="3282"/>
              <a:ext cx="864" cy="48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13" name="Line 27"/>
            <p:cNvSpPr>
              <a:spLocks noChangeShapeType="1"/>
            </p:cNvSpPr>
            <p:nvPr/>
          </p:nvSpPr>
          <p:spPr bwMode="auto">
            <a:xfrm flipV="1">
              <a:off x="2264" y="2354"/>
              <a:ext cx="432" cy="28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14" name="Line 28"/>
            <p:cNvSpPr>
              <a:spLocks noChangeShapeType="1"/>
            </p:cNvSpPr>
            <p:nvPr/>
          </p:nvSpPr>
          <p:spPr bwMode="auto">
            <a:xfrm>
              <a:off x="2280" y="3370"/>
              <a:ext cx="432" cy="28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515" name="Text Box 29"/>
            <p:cNvSpPr txBox="1">
              <a:spLocks noChangeArrowheads="1"/>
            </p:cNvSpPr>
            <p:nvPr/>
          </p:nvSpPr>
          <p:spPr bwMode="auto">
            <a:xfrm>
              <a:off x="2904" y="1930"/>
              <a:ext cx="69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r>
                <a:rPr lang="de-DE" altLang="de-DE" sz="18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ösung</a:t>
              </a:r>
            </a:p>
          </p:txBody>
        </p:sp>
        <p:sp>
          <p:nvSpPr>
            <p:cNvPr id="20516" name="Text Box 30"/>
            <p:cNvSpPr txBox="1">
              <a:spLocks noChangeArrowheads="1"/>
            </p:cNvSpPr>
            <p:nvPr/>
          </p:nvSpPr>
          <p:spPr bwMode="auto">
            <a:xfrm>
              <a:off x="2824" y="3730"/>
              <a:ext cx="700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r>
                <a:rPr lang="de-DE" altLang="de-DE" sz="18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ösung</a:t>
              </a:r>
            </a:p>
          </p:txBody>
        </p:sp>
      </p:grpSp>
      <p:sp>
        <p:nvSpPr>
          <p:cNvPr id="20499" name="Rectangle 3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00150" y="725488"/>
            <a:ext cx="6750050" cy="4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de-CH" altLang="de-DE" sz="1000" b="1">
              <a:solidFill>
                <a:srgbClr val="5A88B7"/>
              </a:solidFill>
              <a:latin typeface="Arial" panose="020B0604020202020204" pitchFamily="34" charset="0"/>
            </a:endParaRPr>
          </a:p>
        </p:txBody>
      </p:sp>
      <p:sp>
        <p:nvSpPr>
          <p:cNvPr id="4" name="Text Box 11">
            <a:extLst>
              <a:ext uri="{FF2B5EF4-FFF2-40B4-BE49-F238E27FC236}">
                <a16:creationId xmlns:a16="http://schemas.microsoft.com/office/drawing/2014/main" id="{FD0BDB32-B64D-618D-99A4-A71C405F1C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28184" y="4534584"/>
            <a:ext cx="21336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/>
            <a:r>
              <a:rPr lang="de-DE" altLang="de-DE" sz="1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reatives Denkmuster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414D3976-5B55-B018-5010-FE5CE35A8A15}"/>
              </a:ext>
            </a:extLst>
          </p:cNvPr>
          <p:cNvCxnSpPr>
            <a:stCxn id="20506" idx="6"/>
          </p:cNvCxnSpPr>
          <p:nvPr/>
        </p:nvCxnSpPr>
        <p:spPr>
          <a:xfrm>
            <a:off x="3800475" y="4894768"/>
            <a:ext cx="2931765" cy="9825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3CD8F6F8-C74A-457A-B92E-AE40C1E94B32}"/>
              </a:ext>
            </a:extLst>
          </p:cNvPr>
          <p:cNvSpPr txBox="1"/>
          <p:nvPr/>
        </p:nvSpPr>
        <p:spPr>
          <a:xfrm>
            <a:off x="6770340" y="5720268"/>
            <a:ext cx="2133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2000" dirty="0">
                <a:solidFill>
                  <a:schemeClr val="accent1">
                    <a:lumMod val="75000"/>
                  </a:schemeClr>
                </a:solidFill>
              </a:rPr>
              <a:t>Ziel/Zweck von Kreativtechnik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E3B37CE7-188B-C91D-F592-7C1B7F121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10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89381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8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FC23972-5612-1428-884D-31B4F1F07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eispiel für «zufällige» Anrei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ECB4105-6ED0-6368-F647-74F95E62F1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altLang="de-DE" dirty="0">
                <a:solidFill>
                  <a:schemeClr val="accent1">
                    <a:lumMod val="75000"/>
                  </a:schemeClr>
                </a:solidFill>
              </a:rPr>
              <a:t>Wie würde IKEA einen </a:t>
            </a:r>
            <a:r>
              <a:rPr lang="de-CH" altLang="de-DE" dirty="0" err="1">
                <a:solidFill>
                  <a:schemeClr val="accent1">
                    <a:lumMod val="75000"/>
                  </a:schemeClr>
                </a:solidFill>
              </a:rPr>
              <a:t>Panathlon</a:t>
            </a:r>
            <a:r>
              <a:rPr lang="de-CH" altLang="de-DE" dirty="0">
                <a:solidFill>
                  <a:schemeClr val="accent1">
                    <a:lumMod val="75000"/>
                  </a:schemeClr>
                </a:solidFill>
              </a:rPr>
              <a:t> Club betreiben?</a:t>
            </a:r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499" name="Rectangle 3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00150" y="725488"/>
            <a:ext cx="6750050" cy="4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de-CH" altLang="de-DE" sz="1000" b="1">
              <a:solidFill>
                <a:srgbClr val="5A88B7"/>
              </a:solidFill>
              <a:latin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4E4DFC1-197F-EBAA-65D6-CD19367265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405" y="2348880"/>
            <a:ext cx="8256796" cy="3672408"/>
          </a:xfrm>
          <a:prstGeom prst="rect">
            <a:avLst/>
          </a:prstGeom>
        </p:spPr>
      </p:pic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B7A5A57A-AF99-0FB4-3CD2-D71C31E4C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11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26475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fluss der Teamzusammensetzung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E6810B0-B640-7B3C-AB20-033D8190D6EE}"/>
              </a:ext>
            </a:extLst>
          </p:cNvPr>
          <p:cNvGrpSpPr>
            <a:grpSpLocks/>
          </p:cNvGrpSpPr>
          <p:nvPr/>
        </p:nvGrpSpPr>
        <p:grpSpPr bwMode="auto">
          <a:xfrm>
            <a:off x="1547664" y="2060848"/>
            <a:ext cx="5616820" cy="2924908"/>
            <a:chOff x="1247" y="1117"/>
            <a:chExt cx="3538" cy="1996"/>
          </a:xfrm>
        </p:grpSpPr>
        <p:sp>
          <p:nvSpPr>
            <p:cNvPr id="6" name="Line 4">
              <a:extLst>
                <a:ext uri="{FF2B5EF4-FFF2-40B4-BE49-F238E27FC236}">
                  <a16:creationId xmlns:a16="http://schemas.microsoft.com/office/drawing/2014/main" id="{5F5C30E8-C703-AC14-21EA-BB9876D6BA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27" y="1117"/>
              <a:ext cx="0" cy="1996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7" name="Line 5">
              <a:extLst>
                <a:ext uri="{FF2B5EF4-FFF2-40B4-BE49-F238E27FC236}">
                  <a16:creationId xmlns:a16="http://schemas.microsoft.com/office/drawing/2014/main" id="{38AFAE6F-55C7-7EAE-6231-1D37EB7000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08" y="1117"/>
              <a:ext cx="0" cy="1996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8" name="Line 6">
              <a:extLst>
                <a:ext uri="{FF2B5EF4-FFF2-40B4-BE49-F238E27FC236}">
                  <a16:creationId xmlns:a16="http://schemas.microsoft.com/office/drawing/2014/main" id="{E81CAA60-9931-B9DA-A9D1-F458790AE38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89" y="1117"/>
              <a:ext cx="0" cy="1996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D089E663-5D48-0C7A-0E45-7CBBA0EB4F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0" y="1117"/>
              <a:ext cx="0" cy="1996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0" name="Line 8">
              <a:extLst>
                <a:ext uri="{FF2B5EF4-FFF2-40B4-BE49-F238E27FC236}">
                  <a16:creationId xmlns:a16="http://schemas.microsoft.com/office/drawing/2014/main" id="{E5A12C17-3ABD-8E45-E092-CE985DC3AF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7" y="1979"/>
              <a:ext cx="3538" cy="0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1" name="Line 9">
              <a:extLst>
                <a:ext uri="{FF2B5EF4-FFF2-40B4-BE49-F238E27FC236}">
                  <a16:creationId xmlns:a16="http://schemas.microsoft.com/office/drawing/2014/main" id="{9DBE164B-FF40-A7F1-281B-C1CC6445C3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7" y="2614"/>
              <a:ext cx="3538" cy="0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2" name="Line 10">
              <a:extLst>
                <a:ext uri="{FF2B5EF4-FFF2-40B4-BE49-F238E27FC236}">
                  <a16:creationId xmlns:a16="http://schemas.microsoft.com/office/drawing/2014/main" id="{CBDB7479-8B55-7FE8-D651-337AF81F02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7" y="1298"/>
              <a:ext cx="3538" cy="0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en-GB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B28CDE34-9033-AD11-C4CF-5ACCC5DFD6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1412" y="5516225"/>
            <a:ext cx="6151306" cy="334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78235" tIns="39118" rIns="78235" bIns="39118">
            <a:spAutoFit/>
          </a:bodyPr>
          <a:lstStyle>
            <a:lvl1pPr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defTabSz="7016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defTabSz="7016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defTabSz="7016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defTabSz="7016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en-US" altLang="de-DE" sz="1846" b="0">
                <a:solidFill>
                  <a:schemeClr val="accent1">
                    <a:lumMod val="75000"/>
                  </a:schemeClr>
                </a:solidFill>
                <a:latin typeface="+mn-lt"/>
              </a:rPr>
              <a:t>Durchschnittliche Zugehörigkeit der Teammitglieder zum Team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0A7164-71F4-00C8-895B-80FFD9A92802}"/>
              </a:ext>
            </a:extLst>
          </p:cNvPr>
          <p:cNvSpPr>
            <a:spLocks noChangeArrowheads="1"/>
          </p:cNvSpPr>
          <p:nvPr/>
        </p:nvSpPr>
        <p:spPr bwMode="auto">
          <a:xfrm rot="-5400000">
            <a:off x="-848008" y="3537687"/>
            <a:ext cx="3205435" cy="334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78235" tIns="39118" rIns="78235" bIns="39118">
            <a:spAutoFit/>
          </a:bodyPr>
          <a:lstStyle>
            <a:lvl1pPr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defTabSz="70167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defTabSz="7016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defTabSz="7016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defTabSz="7016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defTabSz="7016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en-US" altLang="de-DE" sz="1846" b="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novations-</a:t>
            </a:r>
            <a:r>
              <a:rPr lang="en-US" altLang="de-DE" sz="1846" b="0" dirty="0" err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istung</a:t>
            </a:r>
            <a:r>
              <a:rPr lang="en-US" altLang="de-DE" sz="1846" b="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s Team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B1B568D-2061-052F-F8B7-4808568FF36A}"/>
              </a:ext>
            </a:extLst>
          </p:cNvPr>
          <p:cNvGrpSpPr>
            <a:grpSpLocks/>
          </p:cNvGrpSpPr>
          <p:nvPr/>
        </p:nvGrpSpPr>
        <p:grpSpPr bwMode="auto">
          <a:xfrm>
            <a:off x="1008399" y="2173683"/>
            <a:ext cx="418382" cy="2203938"/>
            <a:chOff x="872" y="1302"/>
            <a:chExt cx="264" cy="150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82D0B9E-909B-C7FA-39BA-78B848012D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" y="2601"/>
              <a:ext cx="264" cy="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78235" tIns="39118" rIns="78235" bIns="39118">
              <a:spAutoFit/>
            </a:bodyPr>
            <a:lstStyle/>
            <a:p>
              <a:pPr defTabSz="647716" eaLnBrk="0" hangingPunct="0">
                <a:lnSpc>
                  <a:spcPct val="90000"/>
                </a:lnSpc>
                <a:defRPr/>
              </a:pPr>
              <a:r>
                <a:rPr lang="en-US" sz="160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4.0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6EF2B9B-1DD4-271F-7DE9-227A35B967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" y="1952"/>
              <a:ext cx="264" cy="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78235" tIns="39118" rIns="78235" bIns="39118">
              <a:spAutoFit/>
            </a:bodyPr>
            <a:lstStyle/>
            <a:p>
              <a:pPr defTabSz="647716" eaLnBrk="0" hangingPunct="0">
                <a:lnSpc>
                  <a:spcPct val="90000"/>
                </a:lnSpc>
                <a:defRPr/>
              </a:pPr>
              <a:r>
                <a:rPr lang="en-US" sz="160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4.5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3F28ACD-55DA-1F7E-FFE6-76307C230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" y="1302"/>
              <a:ext cx="264" cy="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78235" tIns="39118" rIns="78235" bIns="39118">
              <a:spAutoFit/>
            </a:bodyPr>
            <a:lstStyle/>
            <a:p>
              <a:pPr defTabSz="647716" eaLnBrk="0" hangingPunct="0">
                <a:lnSpc>
                  <a:spcPct val="90000"/>
                </a:lnSpc>
                <a:defRPr/>
              </a:pPr>
              <a:r>
                <a:rPr lang="en-US" sz="16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5.0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C6110BD-38AE-190B-CE42-FD404193C0EE}"/>
              </a:ext>
            </a:extLst>
          </p:cNvPr>
          <p:cNvGrpSpPr>
            <a:grpSpLocks/>
          </p:cNvGrpSpPr>
          <p:nvPr/>
        </p:nvGrpSpPr>
        <p:grpSpPr bwMode="auto">
          <a:xfrm>
            <a:off x="1458298" y="5104448"/>
            <a:ext cx="5879858" cy="300403"/>
            <a:chOff x="1143" y="3302"/>
            <a:chExt cx="3704" cy="205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5DC7142-3501-F8A3-EF94-F1BFC5007B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3" y="3302"/>
              <a:ext cx="165" cy="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78235" tIns="39118" rIns="78235" bIns="39118">
              <a:spAutoFit/>
            </a:bodyPr>
            <a:lstStyle>
              <a:lvl1pPr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90000"/>
                </a:lnSpc>
                <a:spcAft>
                  <a:spcPct val="0"/>
                </a:spcAft>
              </a:pPr>
              <a:r>
                <a:rPr lang="en-US" altLang="de-DE" sz="1600" b="0" dirty="0">
                  <a:solidFill>
                    <a:schemeClr val="accent1">
                      <a:lumMod val="75000"/>
                    </a:schemeClr>
                  </a:solidFill>
                  <a:latin typeface="+mn-lt"/>
                </a:rPr>
                <a:t>0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B21B211A-BAF2-09C8-0160-3A0A635736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8" y="3302"/>
              <a:ext cx="165" cy="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78235" tIns="39118" rIns="78235" bIns="39118">
              <a:spAutoFit/>
            </a:bodyPr>
            <a:lstStyle>
              <a:lvl1pPr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90000"/>
                </a:lnSpc>
                <a:spcAft>
                  <a:spcPct val="0"/>
                </a:spcAft>
              </a:pPr>
              <a:r>
                <a:rPr lang="en-US" altLang="de-DE" sz="1600" b="0">
                  <a:solidFill>
                    <a:schemeClr val="accent1">
                      <a:lumMod val="75000"/>
                    </a:schemeClr>
                  </a:solidFill>
                  <a:latin typeface="+mn-lt"/>
                </a:rPr>
                <a:t>2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845F4603-C0D8-B228-9107-995C9910A3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9" y="3302"/>
              <a:ext cx="165" cy="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78235" tIns="39118" rIns="78235" bIns="39118">
              <a:spAutoFit/>
            </a:bodyPr>
            <a:lstStyle>
              <a:lvl1pPr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90000"/>
                </a:lnSpc>
                <a:spcAft>
                  <a:spcPct val="0"/>
                </a:spcAft>
              </a:pPr>
              <a:r>
                <a:rPr lang="en-US" altLang="de-DE" sz="1600" b="0">
                  <a:solidFill>
                    <a:schemeClr val="accent1">
                      <a:lumMod val="75000"/>
                    </a:schemeClr>
                  </a:solidFill>
                  <a:latin typeface="+mn-lt"/>
                </a:rPr>
                <a:t>4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7C6644EF-7736-33AD-0D79-682286224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8" y="3302"/>
              <a:ext cx="165" cy="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78235" tIns="39118" rIns="78235" bIns="39118">
              <a:spAutoFit/>
            </a:bodyPr>
            <a:lstStyle>
              <a:lvl1pPr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90000"/>
                </a:lnSpc>
                <a:spcAft>
                  <a:spcPct val="0"/>
                </a:spcAft>
              </a:pPr>
              <a:r>
                <a:rPr lang="en-US" altLang="de-DE" sz="1600" b="0">
                  <a:solidFill>
                    <a:schemeClr val="accent1">
                      <a:lumMod val="75000"/>
                    </a:schemeClr>
                  </a:solidFill>
                  <a:latin typeface="+mn-lt"/>
                </a:rPr>
                <a:t>6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294C78F9-4368-FB69-6FDF-FDDA053BBA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1" y="3302"/>
              <a:ext cx="165" cy="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78235" tIns="39118" rIns="78235" bIns="39118">
              <a:spAutoFit/>
            </a:bodyPr>
            <a:lstStyle>
              <a:lvl1pPr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90000"/>
                </a:lnSpc>
                <a:spcAft>
                  <a:spcPct val="0"/>
                </a:spcAft>
              </a:pPr>
              <a:r>
                <a:rPr lang="en-US" altLang="de-DE" sz="1600" b="0">
                  <a:solidFill>
                    <a:schemeClr val="accent1">
                      <a:lumMod val="75000"/>
                    </a:schemeClr>
                  </a:solidFill>
                  <a:latin typeface="+mn-lt"/>
                </a:rPr>
                <a:t>8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A657B7F-AF33-C9C8-6CFB-9BE24EDA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3302"/>
              <a:ext cx="385" cy="2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78235" tIns="39118" rIns="78235" bIns="39118">
              <a:spAutoFit/>
            </a:bodyPr>
            <a:lstStyle>
              <a:lvl1pPr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defTabSz="701675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defTabSz="701675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ct val="0"/>
                </a:spcAft>
              </a:pPr>
              <a:r>
                <a:rPr lang="en-US" altLang="de-DE" sz="1600" dirty="0">
                  <a:solidFill>
                    <a:schemeClr val="accent1">
                      <a:lumMod val="75000"/>
                    </a:schemeClr>
                  </a:solidFill>
                  <a:latin typeface="+mn-lt"/>
                </a:rPr>
                <a:t>Jahr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C9862E8-3C69-4567-6518-A48EEB65A8D4}"/>
              </a:ext>
            </a:extLst>
          </p:cNvPr>
          <p:cNvGrpSpPr>
            <a:grpSpLocks/>
          </p:cNvGrpSpPr>
          <p:nvPr/>
        </p:nvGrpSpPr>
        <p:grpSpPr bwMode="auto">
          <a:xfrm>
            <a:off x="1688341" y="2293845"/>
            <a:ext cx="3805604" cy="2582008"/>
            <a:chOff x="1301" y="1384"/>
            <a:chExt cx="2397" cy="1762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3C269B00-3BB1-2773-4D84-9DD2D3721F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8" y="177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75B3373C-42DB-F2ED-ACAA-A40EC9314D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180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235A7E0-F156-1648-E664-A9C47DF217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6" y="186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643CA854-41D9-C361-3A5C-4E1361A63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5" y="244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BC285FE-1BE5-9BB7-7863-A452B50C5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8" y="1604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FD886604-1E5F-4D0B-7D18-B3FB0D5C1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5" y="188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291E7B59-9883-C0AC-8C06-ED3277F36F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8" y="1696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A332DDA0-7129-B861-44A1-219215847D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7" y="1764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2091472A-CC9B-1CC8-F0D2-594F45330E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6" y="175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2D1B80D7-BC3F-F052-CF9B-2A3724ABCC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3" y="199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9700BAC2-96AD-20C2-0F58-424A6B87C9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" y="2056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8E70B786-05B2-BCC8-B0D4-2F1AA16AE5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1" y="1816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984ABFBD-7B0F-690A-C898-23A115B0B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4" y="219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3E6942E2-7CE7-163A-9F43-46CFAF7F3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3" y="296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4B475BBE-5463-EF4C-D4B3-7F2C71FD5F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4" y="198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BA32B5FA-F946-16D4-33EB-8168BC3AA3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0" y="1504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F4AEE1D1-DBA2-3C07-C9B8-EDA005740A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5" y="151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69D2E24E-D85B-5604-012E-35C72E75A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2" y="1904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B788A760-5D2D-3880-E1C2-DCAE80A54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3" y="2296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75848D6D-3D84-9197-4F57-E5A63E794E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4" y="167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5B91D9FB-4DC8-BF2F-F4F1-C49C197069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5" y="172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5B988A1-094F-8A45-3EDF-806A8D6E2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8" y="307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17438948-7BDA-BE17-3FEA-C8C5180B6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5" y="160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3A40AB6-6CDB-76DD-65D8-39CB2C906F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8" y="2324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8B94B01C-DC02-5374-9401-5CE79BF1D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7" y="141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196B88E3-7999-EB85-148F-2122328BBA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4" y="1524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8A16A3DB-942D-5C98-B5C2-DF9340B07C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3" y="152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35B5436F-15A6-16DC-1AB6-53CFD03A9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6" y="210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83694701-BDB4-4F58-CD12-1D7FD8E63F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7" y="181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DE901128-F09A-9BC7-099F-7A3842467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4" y="1836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605E0073-B7A9-A844-F458-B26D586B2B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208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D00F03D7-291B-E130-BC4D-049B8CB30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0" y="310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202659E4-29F8-7A0C-3574-5DC11CC5F3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9" y="170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C1BA960B-F508-02C1-1A23-72BE2EF206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6" y="140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74FF5205-9B94-2C3F-A998-EE43F9BF7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9" y="1384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D4E13709-54F8-898E-46B4-BB3C2B64E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6" y="141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6D5FD53D-07C4-16F6-61AA-7FA79C7D8E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5" y="169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C0F9BB45-4E32-0750-EE4C-D38ABD0C6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2" y="256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A9D9B049-CDBD-4E98-FB9A-E2E5D9A577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1" y="220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FE0E0EE1-E04E-3229-EB69-ECBE728CF1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4" y="1796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6EC84054-0DB5-AE5F-7445-86B0DEB6FC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5" y="291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EAF6F310-D513-0681-0A44-70E1583A7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4" y="2660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369EF022-25FF-E9FC-C466-F88CE02C1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" y="139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A612F672-1D7D-B492-A9CC-9C44B6BB87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" y="1404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B5538061-76C8-E45A-34DC-2162CEC72F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5" y="1396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E5A0AFB8-C387-A98C-9D64-07E100A9A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0" y="164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98293267-D092-2C3E-8370-798F3658D8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1" y="2684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162DC7D0-9FA3-55DB-E902-0FDB336745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4" y="229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D0CFF986-9A4F-5AB5-7905-06682B3FB5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3" y="174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4F330817-83F3-7337-F470-1247C0B33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6" y="2532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DF8557AA-F389-BA66-86F1-780AC047F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" y="242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40125DC0-B596-DEEF-864D-735462FAB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2" y="2768"/>
              <a:ext cx="46" cy="46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88000"/>
                </a:lnSpc>
                <a:spcBef>
                  <a:spcPct val="0"/>
                </a:spcBef>
                <a:spcAft>
                  <a:spcPct val="50000"/>
                </a:spcAft>
                <a:defRPr b="1">
                  <a:solidFill>
                    <a:schemeClr val="accent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</p:grpSp>
      <p:sp>
        <p:nvSpPr>
          <p:cNvPr id="108" name="Rechteck 107">
            <a:extLst>
              <a:ext uri="{FF2B5EF4-FFF2-40B4-BE49-F238E27FC236}">
                <a16:creationId xmlns:a16="http://schemas.microsoft.com/office/drawing/2014/main" id="{130FCA76-8D51-DD55-9C76-2EA0FD8BE221}"/>
              </a:ext>
            </a:extLst>
          </p:cNvPr>
          <p:cNvSpPr/>
          <p:nvPr/>
        </p:nvSpPr>
        <p:spPr>
          <a:xfrm>
            <a:off x="1547664" y="2060848"/>
            <a:ext cx="5616820" cy="2924908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9" name="Rectangle 17">
            <a:extLst>
              <a:ext uri="{FF2B5EF4-FFF2-40B4-BE49-F238E27FC236}">
                <a16:creationId xmlns:a16="http://schemas.microsoft.com/office/drawing/2014/main" id="{E66AD243-5E32-8C6A-CBA1-9FBF3EED57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328" y="6045104"/>
            <a:ext cx="3352800" cy="225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547" tIns="41274" rIns="82547" bIns="41274">
            <a:spAutoFit/>
          </a:bodyPr>
          <a:lstStyle>
            <a:lvl1pPr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de-DE" altLang="de-DE" sz="9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Quelle: Betz</a:t>
            </a:r>
          </a:p>
        </p:txBody>
      </p:sp>
      <p:sp>
        <p:nvSpPr>
          <p:cNvPr id="110" name="Foliennummernplatzhalter 5">
            <a:extLst>
              <a:ext uri="{FF2B5EF4-FFF2-40B4-BE49-F238E27FC236}">
                <a16:creationId xmlns:a16="http://schemas.microsoft.com/office/drawing/2014/main" id="{2BE8329B-0997-BC48-70EA-9AFBA9D2E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12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  <a:endParaRPr lang="de-CH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73C54B5-8799-14A7-C616-44289CAA6B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Innovatives Denken und Handeln</a:t>
            </a:r>
          </a:p>
          <a:p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Ist kein Selbstzweck sondern soll Nutzen stiften</a:t>
            </a:r>
          </a:p>
          <a:p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Beginnt mit dem Ziel, das man erreichen will</a:t>
            </a:r>
          </a:p>
          <a:p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Erfordert exakte Problemstellungen</a:t>
            </a:r>
          </a:p>
          <a:p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Ist ein kreativer Akt</a:t>
            </a:r>
          </a:p>
          <a:p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Ist keine «schwarze Magie» </a:t>
            </a:r>
          </a:p>
          <a:p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Erfordert regelmässig «neues Blut»</a:t>
            </a:r>
          </a:p>
          <a:p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666B1FC5-64D7-C0A9-5BA3-D527A37BA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13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932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el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de-CH" sz="3000" dirty="0"/>
              <a:t>Der erste Schritt ist oft der schwierigste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E5B4A89-BA21-D236-EFDD-D9CDEE72C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587" y="1988840"/>
            <a:ext cx="7125567" cy="3456383"/>
          </a:xfrm>
          <a:prstGeom prst="rect">
            <a:avLst/>
          </a:prstGeom>
        </p:spPr>
      </p:pic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B07FD3C4-3093-E9B7-2525-77C5BBDF3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14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0959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9" name="Rectangle 7"/>
          <p:cNvSpPr>
            <a:spLocks noChangeArrowheads="1"/>
          </p:cNvSpPr>
          <p:nvPr/>
        </p:nvSpPr>
        <p:spPr bwMode="auto">
          <a:xfrm>
            <a:off x="1137139" y="1181101"/>
            <a:ext cx="7288823" cy="731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9817" rIns="0" bIns="49817" anchor="ctr"/>
          <a:lstStyle/>
          <a:p>
            <a:endParaRPr lang="de-CH" b="1" dirty="0">
              <a:solidFill>
                <a:srgbClr val="0070C0"/>
              </a:solidFill>
              <a:ea typeface="ＭＳ Ｐゴシック" pitchFamily="1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91350" tIns="45677" rIns="91350" bIns="45677"/>
          <a:lstStyle/>
          <a:p>
            <a:pPr defTabSz="962782" eaLnBrk="1" hangingPunct="1">
              <a:tabLst>
                <a:tab pos="8857006" algn="r"/>
              </a:tabLst>
            </a:pPr>
            <a:r>
              <a:rPr lang="de-CH" dirty="0"/>
              <a:t>Vielen Dank für eure Aufmerksamkeit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249356"/>
            <a:ext cx="7643290" cy="800132"/>
          </a:xfrm>
        </p:spPr>
        <p:txBody>
          <a:bodyPr/>
          <a:lstStyle/>
          <a:p>
            <a:pPr marL="0" indent="0">
              <a:buNone/>
            </a:pPr>
            <a:endParaRPr lang="de-CH" b="1" dirty="0">
              <a:solidFill>
                <a:srgbClr val="0070C0"/>
              </a:solidFill>
              <a:ea typeface="ＭＳ Ｐゴシック" pitchFamily="1" charset="-128"/>
            </a:endParaRPr>
          </a:p>
          <a:p>
            <a:endParaRPr lang="en-GB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1546714"/>
            <a:ext cx="7163846" cy="4748131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425870" y="5445280"/>
            <a:ext cx="476444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solidFill>
                  <a:schemeClr val="bg1"/>
                </a:solidFill>
              </a:rPr>
              <a:t>...und </a:t>
            </a:r>
            <a:r>
              <a:rPr lang="en-GB" sz="4400" b="1" dirty="0" err="1">
                <a:solidFill>
                  <a:schemeClr val="bg1"/>
                </a:solidFill>
              </a:rPr>
              <a:t>viel</a:t>
            </a:r>
            <a:r>
              <a:rPr lang="en-GB" sz="4400" b="1" dirty="0">
                <a:solidFill>
                  <a:schemeClr val="bg1"/>
                </a:solidFill>
              </a:rPr>
              <a:t> </a:t>
            </a:r>
            <a:r>
              <a:rPr lang="en-GB" sz="4400" b="1" dirty="0" err="1">
                <a:solidFill>
                  <a:schemeClr val="bg1"/>
                </a:solidFill>
              </a:rPr>
              <a:t>Erfolg</a:t>
            </a:r>
            <a:r>
              <a:rPr lang="en-GB" sz="44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364F7FA6-DE40-CED8-5051-5947758CD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15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03614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 algn="l"/>
            <a:r>
              <a:rPr lang="de-CH" dirty="0"/>
              <a:t>Mein Club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 sz="2400" dirty="0"/>
          </a:p>
          <a:p>
            <a:endParaRPr lang="de-CH" dirty="0"/>
          </a:p>
          <a:p>
            <a:endParaRPr lang="de-CH" sz="2400" dirty="0"/>
          </a:p>
          <a:p>
            <a:r>
              <a:rPr lang="de-CH" sz="2400" dirty="0">
                <a:solidFill>
                  <a:schemeClr val="accent1">
                    <a:lumMod val="75000"/>
                  </a:schemeClr>
                </a:solidFill>
              </a:rPr>
              <a:t>Gründung 1984</a:t>
            </a:r>
          </a:p>
          <a:p>
            <a:r>
              <a:rPr lang="de-CH" sz="2400" dirty="0">
                <a:solidFill>
                  <a:schemeClr val="accent1">
                    <a:lumMod val="75000"/>
                  </a:schemeClr>
                </a:solidFill>
              </a:rPr>
              <a:t>28 Mitglieder, davon 2 Frauen</a:t>
            </a:r>
          </a:p>
          <a:p>
            <a:r>
              <a:rPr lang="de-CH" sz="2400" dirty="0">
                <a:solidFill>
                  <a:schemeClr val="accent1">
                    <a:lumMod val="75000"/>
                  </a:schemeClr>
                </a:solidFill>
              </a:rPr>
              <a:t>Altersdurchschnitt</a:t>
            </a:r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 67,2 Jahre</a:t>
            </a:r>
            <a:endParaRPr lang="de-CH" sz="24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de-CH" sz="2400" dirty="0">
                <a:solidFill>
                  <a:schemeClr val="accent1">
                    <a:lumMod val="75000"/>
                  </a:schemeClr>
                </a:solidFill>
              </a:rPr>
              <a:t>9 Treffen pro Jahr</a:t>
            </a:r>
          </a:p>
          <a:p>
            <a:r>
              <a:rPr lang="de-DE" sz="2400" dirty="0">
                <a:solidFill>
                  <a:schemeClr val="accent1">
                    <a:lumMod val="75000"/>
                  </a:schemeClr>
                </a:solidFill>
              </a:rPr>
              <a:t>Jährliche Vergabe Nachwuchs-Förderpreis an junge Sportlerinnen und Sportler aus der Region</a:t>
            </a:r>
          </a:p>
          <a:p>
            <a:pPr marL="0" indent="0">
              <a:buNone/>
            </a:pPr>
            <a:endParaRPr lang="de-CH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5137261-4B41-7E8A-D3A4-3716AC38074E}"/>
              </a:ext>
            </a:extLst>
          </p:cNvPr>
          <p:cNvSpPr/>
          <p:nvPr/>
        </p:nvSpPr>
        <p:spPr>
          <a:xfrm>
            <a:off x="395536" y="1628800"/>
            <a:ext cx="8352928" cy="10801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7" name="Grafik 6" descr="Ein Bild, das Schrift, Text, Logo, Grafiken enthält.&#10;&#10;Automatisch generierte Beschreibung">
            <a:extLst>
              <a:ext uri="{FF2B5EF4-FFF2-40B4-BE49-F238E27FC236}">
                <a16:creationId xmlns:a16="http://schemas.microsoft.com/office/drawing/2014/main" id="{0FA9B67E-0D0F-B2CF-FC36-4DD5E5B53B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844824"/>
            <a:ext cx="3530159" cy="749206"/>
          </a:xfrm>
          <a:prstGeom prst="rect">
            <a:avLst/>
          </a:prstGeom>
        </p:spPr>
      </p:pic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04637DA4-193F-D472-7039-6DADF38C5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2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6913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1" name="Titel 3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de-CH" dirty="0"/>
              <a:t>«innovativ» oder nicht?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DB8E848-78F3-7D9B-8C0D-AD33DCE461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375" r="35038" b="12006"/>
          <a:stretch/>
        </p:blipFill>
        <p:spPr>
          <a:xfrm>
            <a:off x="4932040" y="1615058"/>
            <a:ext cx="2479307" cy="3180273"/>
          </a:xfrm>
          <a:prstGeom prst="rect">
            <a:avLst/>
          </a:prstGeom>
        </p:spPr>
      </p:pic>
      <p:pic>
        <p:nvPicPr>
          <p:cNvPr id="5" name="Picture 31" descr="Brille mit Schweibenwischer">
            <a:extLst>
              <a:ext uri="{FF2B5EF4-FFF2-40B4-BE49-F238E27FC236}">
                <a16:creationId xmlns:a16="http://schemas.microsoft.com/office/drawing/2014/main" id="{BED75FBE-5511-B51D-3314-5B848A473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632857"/>
            <a:ext cx="2664296" cy="3162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B13B9FE-B92D-18DB-3B14-60C46777FAAE}"/>
              </a:ext>
            </a:extLst>
          </p:cNvPr>
          <p:cNvSpPr txBox="1"/>
          <p:nvPr/>
        </p:nvSpPr>
        <p:spPr>
          <a:xfrm>
            <a:off x="1143499" y="5227730"/>
            <a:ext cx="28452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3200" b="1" dirty="0">
                <a:solidFill>
                  <a:schemeClr val="accent1">
                    <a:lumMod val="75000"/>
                  </a:schemeClr>
                </a:solidFill>
              </a:rPr>
              <a:t>nicht innovativ!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68D8C61-9256-BFB8-8401-27395F361A51}"/>
              </a:ext>
            </a:extLst>
          </p:cNvPr>
          <p:cNvSpPr txBox="1"/>
          <p:nvPr/>
        </p:nvSpPr>
        <p:spPr>
          <a:xfrm>
            <a:off x="5292080" y="5227729"/>
            <a:ext cx="19016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3200" b="1" dirty="0">
                <a:solidFill>
                  <a:schemeClr val="accent1">
                    <a:lumMod val="75000"/>
                  </a:schemeClr>
                </a:solidFill>
              </a:rPr>
              <a:t>innovativ!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8F9CE830-547C-8B64-B20B-D74EE3D54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3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019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bedeutet also „innovativ“?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lvl="0" indent="0">
              <a:buNone/>
            </a:pPr>
            <a:endParaRPr lang="de-DE" sz="2000" dirty="0"/>
          </a:p>
          <a:p>
            <a:pPr marL="0" lvl="0" indent="0">
              <a:spcBef>
                <a:spcPts val="0"/>
              </a:spcBef>
              <a:spcAft>
                <a:spcPts val="300"/>
              </a:spcAft>
              <a:buNone/>
            </a:pPr>
            <a:endParaRPr lang="de-CH" sz="2000" i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de-CH" sz="2000" dirty="0"/>
              <a:t>	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E939D1F-74EE-0D61-DF58-A7E2C8F6E4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1760" y="1780011"/>
            <a:ext cx="4536504" cy="32859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AC5A530E-7ABF-BED0-95B7-D0F8A8BA9194}"/>
              </a:ext>
            </a:extLst>
          </p:cNvPr>
          <p:cNvSpPr txBox="1"/>
          <p:nvPr/>
        </p:nvSpPr>
        <p:spPr>
          <a:xfrm>
            <a:off x="1043608" y="5157192"/>
            <a:ext cx="68407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200" b="1" dirty="0">
                <a:solidFill>
                  <a:schemeClr val="accent1">
                    <a:lumMod val="75000"/>
                  </a:schemeClr>
                </a:solidFill>
              </a:rPr>
              <a:t>Innovatives Denken und Handeln ist kein Selbstzweck sondern soll Nutzen erzeugen!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A991609C-71C4-51DB-70D9-C299BB841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4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sz="3200" b="1" dirty="0">
                <a:solidFill>
                  <a:schemeClr val="accent1">
                    <a:lumMod val="75000"/>
                  </a:schemeClr>
                </a:solidFill>
              </a:rPr>
              <a:t>Idee = Problem + Lösung</a:t>
            </a:r>
          </a:p>
          <a:p>
            <a:endParaRPr lang="de-CH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novation = umgesetzte gute Idee</a:t>
            </a:r>
            <a:endParaRPr lang="de-CH" dirty="0"/>
          </a:p>
        </p:txBody>
      </p:sp>
      <p:pic>
        <p:nvPicPr>
          <p:cNvPr id="4" name="Grafik 3" descr="Ein Bild, das Text, Glühbirne, Handschrift, Licht enthält.&#10;&#10;Automatisch generierte Beschreibung">
            <a:extLst>
              <a:ext uri="{FF2B5EF4-FFF2-40B4-BE49-F238E27FC236}">
                <a16:creationId xmlns:a16="http://schemas.microsoft.com/office/drawing/2014/main" id="{F53456AF-814D-E723-A3E0-51ADFC1878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0" y="2315675"/>
            <a:ext cx="4597760" cy="293786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E3D510C-9657-0558-21B1-8CB655137F78}"/>
              </a:ext>
            </a:extLst>
          </p:cNvPr>
          <p:cNvSpPr txBox="1"/>
          <p:nvPr/>
        </p:nvSpPr>
        <p:spPr>
          <a:xfrm>
            <a:off x="792484" y="5784350"/>
            <a:ext cx="73211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Eine Idee ist dann gut, wenn das Problem relevant und die Lösung kreativ ist</a:t>
            </a:r>
          </a:p>
          <a:p>
            <a:endParaRPr lang="de-CH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Das heisst: Innovation muss </a:t>
            </a:r>
            <a:r>
              <a:rPr lang="de-CH" b="1" dirty="0">
                <a:solidFill>
                  <a:schemeClr val="accent1">
                    <a:lumMod val="75000"/>
                  </a:schemeClr>
                </a:solidFill>
              </a:rPr>
              <a:t>Nutzen</a:t>
            </a:r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 stiften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717AD74F-9F0C-E906-E88D-EDF88E354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5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518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ext Box 3"/>
          <p:cNvSpPr txBox="1">
            <a:spLocks noChangeArrowheads="1"/>
          </p:cNvSpPr>
          <p:nvPr/>
        </p:nvSpPr>
        <p:spPr bwMode="auto">
          <a:xfrm>
            <a:off x="485775" y="6053138"/>
            <a:ext cx="252665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lle: Michael </a:t>
            </a:r>
            <a:r>
              <a:rPr lang="de-DE" altLang="de-DE" sz="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chalko</a:t>
            </a:r>
            <a:r>
              <a:rPr lang="de-DE" altLang="de-DE" sz="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Erfolgsgeheimnis Kreativität.</a:t>
            </a:r>
          </a:p>
        </p:txBody>
      </p:sp>
      <p:sp>
        <p:nvSpPr>
          <p:cNvPr id="3277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1575" y="725488"/>
            <a:ext cx="6750050" cy="4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 defTabSz="8953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 defTabSz="8953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 defTabSz="8953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 defTabSz="8953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defTabSz="89535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defTabSz="89535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defTabSz="89535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defTabSz="89535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CH" altLang="de-DE" sz="1000" b="1">
              <a:solidFill>
                <a:schemeClr val="hlink"/>
              </a:solidFill>
            </a:endParaRP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611560" y="4204507"/>
            <a:ext cx="7458472" cy="10191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Zapf Dingbats" pitchFamily="1" charset="2"/>
              <a:buNone/>
            </a:pPr>
            <a:r>
              <a:rPr lang="de-DE" altLang="de-DE" sz="2400" b="1" dirty="0">
                <a:solidFill>
                  <a:srgbClr val="FF0000"/>
                </a:solidFill>
                <a:latin typeface="+mn-lt"/>
              </a:rPr>
              <a:t>Antwort Einstein:</a:t>
            </a:r>
          </a:p>
          <a:p>
            <a:pPr eaLnBrk="1" hangingPunct="1">
              <a:spcBef>
                <a:spcPct val="50000"/>
              </a:spcBef>
              <a:buFont typeface="Zapf Dingbats" pitchFamily="1" charset="2"/>
              <a:buNone/>
            </a:pPr>
            <a:r>
              <a:rPr lang="de-DE" altLang="de-DE" sz="2400" dirty="0">
                <a:solidFill>
                  <a:srgbClr val="FF0000"/>
                </a:solidFill>
                <a:latin typeface="+mn-lt"/>
              </a:rPr>
              <a:t>„Ich würde 55 Minuten auf die Formulierung des Problems und 5 Minuten auf dessen Lösung verwenden!“</a:t>
            </a:r>
          </a:p>
        </p:txBody>
      </p:sp>
      <p:sp>
        <p:nvSpPr>
          <p:cNvPr id="32774" name="Rectangle 4"/>
          <p:cNvSpPr>
            <a:spLocks noChangeArrowheads="1"/>
          </p:cNvSpPr>
          <p:nvPr/>
        </p:nvSpPr>
        <p:spPr bwMode="auto">
          <a:xfrm>
            <a:off x="7169769" y="3389758"/>
            <a:ext cx="158671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bert Einstein</a:t>
            </a:r>
          </a:p>
        </p:txBody>
      </p:sp>
      <p:pic>
        <p:nvPicPr>
          <p:cNvPr id="32776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8844" y="1568379"/>
            <a:ext cx="1341438" cy="173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777" name="Titel 1"/>
          <p:cNvSpPr>
            <a:spLocks noGrp="1"/>
          </p:cNvSpPr>
          <p:nvPr>
            <p:ph type="title"/>
          </p:nvPr>
        </p:nvSpPr>
        <p:spPr/>
        <p:txBody>
          <a:bodyPr vert="horz" lIns="91350" tIns="45677" rIns="91350" bIns="45677"/>
          <a:lstStyle/>
          <a:p>
            <a:pPr eaLnBrk="1" hangingPunct="1"/>
            <a:r>
              <a:rPr lang="de-DE" altLang="de-DE" dirty="0"/>
              <a:t>Das Problem richtig sehen</a:t>
            </a:r>
            <a:endParaRPr lang="en-GB" altLang="de-DE" dirty="0"/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479284" y="1771623"/>
            <a:ext cx="6193730" cy="160342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</a:pPr>
            <a:r>
              <a:rPr lang="de-DE" altLang="de-DE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age:</a:t>
            </a:r>
            <a:r>
              <a:rPr lang="de-DE" altLang="de-DE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„Was würden Sie tun, wenn man Ihnen sagte, dass in der nächsten Stunde ein riesiger Komet auf die Erde einschlagen und sie völlig zerstören würde?“</a:t>
            </a:r>
          </a:p>
          <a:p>
            <a:endParaRPr lang="en-GB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C7937351-70C2-84BC-32B9-4E89A240C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6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5875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allAtOnce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enken in «Problemfenstern»</a:t>
            </a:r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C1665F51-540F-56D0-595B-400575401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7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5DE78FF-CAD6-5654-7E36-21D60AB84AA8}"/>
              </a:ext>
            </a:extLst>
          </p:cNvPr>
          <p:cNvSpPr/>
          <p:nvPr/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e-CH" dirty="0">
                <a:solidFill>
                  <a:schemeClr val="accent1">
                    <a:lumMod val="75000"/>
                  </a:schemeClr>
                </a:solidFill>
              </a:rPr>
              <a:t>Wie können wir neue Mitglieder gewinnen?</a:t>
            </a:r>
            <a:r>
              <a:rPr lang="de-CH" dirty="0"/>
              <a:t>?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5CF3DD9-B00D-AE63-A0FA-A4A07359D1D9}"/>
              </a:ext>
            </a:extLst>
          </p:cNvPr>
          <p:cNvSpPr/>
          <p:nvPr/>
        </p:nvSpPr>
        <p:spPr>
          <a:xfrm>
            <a:off x="609600" y="4005064"/>
            <a:ext cx="3098304" cy="1656183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e-CH" sz="1400" dirty="0">
                <a:solidFill>
                  <a:schemeClr val="accent1">
                    <a:lumMod val="75000"/>
                  </a:schemeClr>
                </a:solidFill>
              </a:rPr>
              <a:t>Wie können wir unser Programm interessant gestalten?</a:t>
            </a:r>
            <a:endParaRPr lang="de-CH" sz="140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BEAD0F2-553A-859F-BEED-C05BFC883C2D}"/>
              </a:ext>
            </a:extLst>
          </p:cNvPr>
          <p:cNvSpPr/>
          <p:nvPr/>
        </p:nvSpPr>
        <p:spPr>
          <a:xfrm>
            <a:off x="5013912" y="2348880"/>
            <a:ext cx="3014471" cy="1584176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e-CH" sz="1400" dirty="0">
                <a:solidFill>
                  <a:schemeClr val="accent1">
                    <a:lumMod val="75000"/>
                  </a:schemeClr>
                </a:solidFill>
              </a:rPr>
              <a:t>Wie können wir unsere Bekanntheit in der Öffentlichkeit erhöhen?</a:t>
            </a:r>
            <a:endParaRPr lang="de-CH" sz="1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1968077-2F4C-6EC6-ADA2-30D000F2A37C}"/>
              </a:ext>
            </a:extLst>
          </p:cNvPr>
          <p:cNvSpPr/>
          <p:nvPr/>
        </p:nvSpPr>
        <p:spPr>
          <a:xfrm>
            <a:off x="5508104" y="4869160"/>
            <a:ext cx="2810272" cy="100811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e-CH" sz="1400" dirty="0">
                <a:solidFill>
                  <a:schemeClr val="accent1">
                    <a:lumMod val="75000"/>
                  </a:schemeClr>
                </a:solidFill>
              </a:rPr>
              <a:t>Wie können wir unseren Frauenanteil erhöhen?</a:t>
            </a:r>
            <a:endParaRPr lang="de-CH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FF2AD59-AD30-71E2-D462-B61721A74DDC}"/>
              </a:ext>
            </a:extLst>
          </p:cNvPr>
          <p:cNvSpPr/>
          <p:nvPr/>
        </p:nvSpPr>
        <p:spPr>
          <a:xfrm>
            <a:off x="1763688" y="4653136"/>
            <a:ext cx="1676400" cy="604664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e-CH" sz="1100" dirty="0">
                <a:solidFill>
                  <a:schemeClr val="accent1">
                    <a:lumMod val="75000"/>
                  </a:schemeClr>
                </a:solidFill>
              </a:rPr>
              <a:t>Wie können wir interessante ReferentInnen gewinnen?</a:t>
            </a:r>
            <a:endParaRPr lang="de-CH" sz="1100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D5E487A2-3B5E-771A-E1AC-B579BDBF2E96}"/>
              </a:ext>
            </a:extLst>
          </p:cNvPr>
          <p:cNvSpPr/>
          <p:nvPr/>
        </p:nvSpPr>
        <p:spPr>
          <a:xfrm>
            <a:off x="1427319" y="263413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4DB5B8F6-8D86-5859-1FBA-E878CDF55BD7}"/>
              </a:ext>
            </a:extLst>
          </p:cNvPr>
          <p:cNvSpPr/>
          <p:nvPr/>
        </p:nvSpPr>
        <p:spPr>
          <a:xfrm>
            <a:off x="3460808" y="237510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AC537EA-FD3B-2665-3193-8CA952E02B9B}"/>
              </a:ext>
            </a:extLst>
          </p:cNvPr>
          <p:cNvSpPr/>
          <p:nvPr/>
        </p:nvSpPr>
        <p:spPr>
          <a:xfrm>
            <a:off x="6156176" y="201990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5E161000-1303-4A91-083A-AF870D52A708}"/>
              </a:ext>
            </a:extLst>
          </p:cNvPr>
          <p:cNvSpPr/>
          <p:nvPr/>
        </p:nvSpPr>
        <p:spPr>
          <a:xfrm>
            <a:off x="2987824" y="306896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5435B114-2AFF-6703-BF34-6876E78498D0}"/>
              </a:ext>
            </a:extLst>
          </p:cNvPr>
          <p:cNvSpPr/>
          <p:nvPr/>
        </p:nvSpPr>
        <p:spPr>
          <a:xfrm>
            <a:off x="4067944" y="5372256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FCE50107-250E-B3EB-0CD1-6B767ABFC359}"/>
              </a:ext>
            </a:extLst>
          </p:cNvPr>
          <p:cNvSpPr/>
          <p:nvPr/>
        </p:nvSpPr>
        <p:spPr>
          <a:xfrm>
            <a:off x="3988636" y="357615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5DE2B933-D502-D16C-3886-96A6B4A0D81E}"/>
              </a:ext>
            </a:extLst>
          </p:cNvPr>
          <p:cNvSpPr/>
          <p:nvPr/>
        </p:nvSpPr>
        <p:spPr>
          <a:xfrm>
            <a:off x="7452320" y="424227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FB389D44-D311-3BE7-CAA0-E74ADB8FC41B}"/>
              </a:ext>
            </a:extLst>
          </p:cNvPr>
          <p:cNvSpPr/>
          <p:nvPr/>
        </p:nvSpPr>
        <p:spPr>
          <a:xfrm>
            <a:off x="4288457" y="2766461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77FCB0C8-3027-2C54-DB79-BB71DDB685CD}"/>
              </a:ext>
            </a:extLst>
          </p:cNvPr>
          <p:cNvSpPr/>
          <p:nvPr/>
        </p:nvSpPr>
        <p:spPr>
          <a:xfrm>
            <a:off x="1907704" y="3504144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CC5EF96F-32A7-5A78-8E93-B38543D15AEA}"/>
              </a:ext>
            </a:extLst>
          </p:cNvPr>
          <p:cNvSpPr/>
          <p:nvPr/>
        </p:nvSpPr>
        <p:spPr>
          <a:xfrm>
            <a:off x="5170449" y="288647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9131DC07-431C-8787-A747-D0354C069731}"/>
              </a:ext>
            </a:extLst>
          </p:cNvPr>
          <p:cNvSpPr/>
          <p:nvPr/>
        </p:nvSpPr>
        <p:spPr>
          <a:xfrm>
            <a:off x="4369481" y="441030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E0E5F573-A0DF-3DCD-1A5D-65C3FD3F57B9}"/>
              </a:ext>
            </a:extLst>
          </p:cNvPr>
          <p:cNvSpPr/>
          <p:nvPr/>
        </p:nvSpPr>
        <p:spPr>
          <a:xfrm>
            <a:off x="6012160" y="4309683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06158683-29AA-827B-D87D-0841002C0500}"/>
              </a:ext>
            </a:extLst>
          </p:cNvPr>
          <p:cNvSpPr/>
          <p:nvPr/>
        </p:nvSpPr>
        <p:spPr>
          <a:xfrm>
            <a:off x="755576" y="458112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010423D-9EB9-5214-6DCC-C69ADAF88E35}"/>
              </a:ext>
            </a:extLst>
          </p:cNvPr>
          <p:cNvSpPr/>
          <p:nvPr/>
        </p:nvSpPr>
        <p:spPr>
          <a:xfrm>
            <a:off x="5652120" y="5373236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9D137DA8-5467-BCE4-0208-88EEE7F42C21}"/>
              </a:ext>
            </a:extLst>
          </p:cNvPr>
          <p:cNvSpPr/>
          <p:nvPr/>
        </p:nvSpPr>
        <p:spPr>
          <a:xfrm>
            <a:off x="1323256" y="4954974"/>
            <a:ext cx="72008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03EF2F93-9255-EC55-A1D7-194C6B8E741A}"/>
              </a:ext>
            </a:extLst>
          </p:cNvPr>
          <p:cNvSpPr/>
          <p:nvPr/>
        </p:nvSpPr>
        <p:spPr>
          <a:xfrm>
            <a:off x="1460438" y="4624154"/>
            <a:ext cx="72008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8C1996-5572-D895-9CF6-AD3467685FE7}"/>
              </a:ext>
            </a:extLst>
          </p:cNvPr>
          <p:cNvSpPr/>
          <p:nvPr/>
        </p:nvSpPr>
        <p:spPr>
          <a:xfrm>
            <a:off x="1078632" y="5354049"/>
            <a:ext cx="72008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BEEA98B6-8A2E-9F14-9854-E24F201D8C7C}"/>
              </a:ext>
            </a:extLst>
          </p:cNvPr>
          <p:cNvSpPr/>
          <p:nvPr/>
        </p:nvSpPr>
        <p:spPr>
          <a:xfrm>
            <a:off x="1837016" y="5387515"/>
            <a:ext cx="72008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324B21B5-8FDE-A5D0-71CB-049F5AAE27BA}"/>
              </a:ext>
            </a:extLst>
          </p:cNvPr>
          <p:cNvSpPr/>
          <p:nvPr/>
        </p:nvSpPr>
        <p:spPr>
          <a:xfrm>
            <a:off x="3419872" y="4357266"/>
            <a:ext cx="72008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8F5388EB-26C3-FDFB-1D7D-88339BBE4A0D}"/>
              </a:ext>
            </a:extLst>
          </p:cNvPr>
          <p:cNvSpPr/>
          <p:nvPr/>
        </p:nvSpPr>
        <p:spPr>
          <a:xfrm>
            <a:off x="3388800" y="5386146"/>
            <a:ext cx="72008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4AE10352-6534-4A04-114A-DCCFF860604D}"/>
              </a:ext>
            </a:extLst>
          </p:cNvPr>
          <p:cNvSpPr/>
          <p:nvPr/>
        </p:nvSpPr>
        <p:spPr>
          <a:xfrm>
            <a:off x="2870767" y="4709617"/>
            <a:ext cx="72008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E7B0E219-8E63-464A-3FEB-5D988F1EF833}"/>
              </a:ext>
            </a:extLst>
          </p:cNvPr>
          <p:cNvSpPr/>
          <p:nvPr/>
        </p:nvSpPr>
        <p:spPr>
          <a:xfrm>
            <a:off x="2485088" y="5404358"/>
            <a:ext cx="72008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9051CF5-26CF-D515-D5E7-5D2241D7FC8F}"/>
              </a:ext>
            </a:extLst>
          </p:cNvPr>
          <p:cNvSpPr/>
          <p:nvPr/>
        </p:nvSpPr>
        <p:spPr>
          <a:xfrm>
            <a:off x="3203848" y="4797152"/>
            <a:ext cx="72008" cy="72008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CB51F1F7-DFAE-C684-8D3F-6A45EBE301C7}"/>
              </a:ext>
            </a:extLst>
          </p:cNvPr>
          <p:cNvSpPr/>
          <p:nvPr/>
        </p:nvSpPr>
        <p:spPr>
          <a:xfrm>
            <a:off x="2699792" y="4865273"/>
            <a:ext cx="72008" cy="72008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737F4F94-A900-8E67-C25F-F7370C0EFEFE}"/>
              </a:ext>
            </a:extLst>
          </p:cNvPr>
          <p:cNvSpPr/>
          <p:nvPr/>
        </p:nvSpPr>
        <p:spPr>
          <a:xfrm>
            <a:off x="2885188" y="4964187"/>
            <a:ext cx="72008" cy="72008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3D67A348-34B8-449A-B504-C68EEC325EBC}"/>
              </a:ext>
            </a:extLst>
          </p:cNvPr>
          <p:cNvSpPr/>
          <p:nvPr/>
        </p:nvSpPr>
        <p:spPr>
          <a:xfrm>
            <a:off x="1907704" y="4866295"/>
            <a:ext cx="72008" cy="72008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4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1575" y="725488"/>
            <a:ext cx="6750050" cy="4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 defTabSz="8953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 defTabSz="8953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 defTabSz="8953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 defTabSz="8953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defTabSz="89535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defTabSz="89535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defTabSz="89535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defTabSz="89535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CH" altLang="de-DE" sz="1000" b="1">
              <a:solidFill>
                <a:schemeClr val="hlink"/>
              </a:solidFill>
            </a:endParaRPr>
          </a:p>
        </p:txBody>
      </p:sp>
      <p:sp>
        <p:nvSpPr>
          <p:cNvPr id="48" name="Line 2"/>
          <p:cNvSpPr>
            <a:spLocks noChangeShapeType="1"/>
          </p:cNvSpPr>
          <p:nvPr/>
        </p:nvSpPr>
        <p:spPr bwMode="auto">
          <a:xfrm flipV="1">
            <a:off x="2574255" y="2527325"/>
            <a:ext cx="4292600" cy="3124200"/>
          </a:xfrm>
          <a:prstGeom prst="line">
            <a:avLst/>
          </a:prstGeom>
          <a:noFill/>
          <a:ln w="38100">
            <a:solidFill>
              <a:srgbClr val="423AD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9" name="Text Box 3"/>
          <p:cNvSpPr txBox="1">
            <a:spLocks noChangeArrowheads="1"/>
          </p:cNvSpPr>
          <p:nvPr/>
        </p:nvSpPr>
        <p:spPr bwMode="auto">
          <a:xfrm>
            <a:off x="6279510" y="2730525"/>
            <a:ext cx="2108141" cy="5232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b="1" dirty="0">
                <a:solidFill>
                  <a:srgbClr val="423AD8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istungs-Anforderungen: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tikuliert, erwartet</a:t>
            </a:r>
          </a:p>
        </p:txBody>
      </p:sp>
      <p:sp>
        <p:nvSpPr>
          <p:cNvPr id="35847" name="Line 6"/>
          <p:cNvSpPr>
            <a:spLocks noChangeShapeType="1"/>
          </p:cNvSpPr>
          <p:nvPr/>
        </p:nvSpPr>
        <p:spPr bwMode="auto">
          <a:xfrm>
            <a:off x="4566568" y="2111400"/>
            <a:ext cx="0" cy="4241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5848" name="Line 7"/>
          <p:cNvSpPr>
            <a:spLocks noChangeShapeType="1"/>
          </p:cNvSpPr>
          <p:nvPr/>
        </p:nvSpPr>
        <p:spPr bwMode="auto">
          <a:xfrm>
            <a:off x="1747168" y="4235475"/>
            <a:ext cx="665003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5849" name="Text Box 8"/>
          <p:cNvSpPr txBox="1">
            <a:spLocks noChangeArrowheads="1"/>
          </p:cNvSpPr>
          <p:nvPr/>
        </p:nvSpPr>
        <p:spPr bwMode="auto">
          <a:xfrm>
            <a:off x="7480920" y="3668083"/>
            <a:ext cx="982961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b="1" dirty="0">
                <a:latin typeface="+mn-lt"/>
              </a:rPr>
              <a:t>Erfüllungs-</a:t>
            </a:r>
            <a:br>
              <a:rPr lang="de-DE" altLang="de-DE" sz="1400" b="1" dirty="0">
                <a:latin typeface="+mn-lt"/>
              </a:rPr>
            </a:br>
            <a:r>
              <a:rPr lang="de-DE" altLang="de-DE" sz="1400" b="1" dirty="0">
                <a:latin typeface="+mn-lt"/>
              </a:rPr>
              <a:t>grad</a:t>
            </a:r>
          </a:p>
        </p:txBody>
      </p:sp>
      <p:sp>
        <p:nvSpPr>
          <p:cNvPr id="35850" name="Text Box 9"/>
          <p:cNvSpPr txBox="1">
            <a:spLocks noChangeArrowheads="1"/>
          </p:cNvSpPr>
          <p:nvPr/>
        </p:nvSpPr>
        <p:spPr bwMode="auto">
          <a:xfrm>
            <a:off x="3382293" y="1598637"/>
            <a:ext cx="2138362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friedigung der </a:t>
            </a:r>
            <a:br>
              <a:rPr lang="de-DE" altLang="de-DE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nden</a:t>
            </a:r>
          </a:p>
        </p:txBody>
      </p:sp>
      <p:sp>
        <p:nvSpPr>
          <p:cNvPr id="56" name="Arc 10"/>
          <p:cNvSpPr>
            <a:spLocks/>
          </p:cNvSpPr>
          <p:nvPr/>
        </p:nvSpPr>
        <p:spPr bwMode="auto">
          <a:xfrm flipV="1">
            <a:off x="2483768" y="1628800"/>
            <a:ext cx="4292600" cy="2362200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00B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7" name="Text Box 11"/>
          <p:cNvSpPr txBox="1">
            <a:spLocks noChangeArrowheads="1"/>
          </p:cNvSpPr>
          <p:nvPr/>
        </p:nvSpPr>
        <p:spPr bwMode="auto">
          <a:xfrm>
            <a:off x="2372643" y="3082950"/>
            <a:ext cx="2284412" cy="7381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b="1" dirty="0">
                <a:solidFill>
                  <a:srgbClr val="00B050"/>
                </a:solidFill>
                <a:latin typeface="+mn-lt"/>
              </a:rPr>
              <a:t>Begeisterungs-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b="1" dirty="0">
                <a:solidFill>
                  <a:srgbClr val="00B050"/>
                </a:solidFill>
                <a:latin typeface="+mn-lt"/>
              </a:rPr>
              <a:t>Anforderungen: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latin typeface="+mn-lt"/>
              </a:rPr>
              <a:t>nicht artikuliert, unerwartet</a:t>
            </a:r>
          </a:p>
        </p:txBody>
      </p:sp>
      <p:sp>
        <p:nvSpPr>
          <p:cNvPr id="58" name="Arc 12"/>
          <p:cNvSpPr>
            <a:spLocks/>
          </p:cNvSpPr>
          <p:nvPr/>
        </p:nvSpPr>
        <p:spPr bwMode="auto">
          <a:xfrm flipH="1">
            <a:off x="2818730" y="4451375"/>
            <a:ext cx="4292600" cy="1825625"/>
          </a:xfrm>
          <a:custGeom>
            <a:avLst/>
            <a:gdLst>
              <a:gd name="T0" fmla="*/ 0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38100">
            <a:solidFill>
              <a:srgbClr val="C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9" name="Text Box 13"/>
          <p:cNvSpPr txBox="1">
            <a:spLocks noChangeArrowheads="1"/>
          </p:cNvSpPr>
          <p:nvPr/>
        </p:nvSpPr>
        <p:spPr bwMode="auto">
          <a:xfrm>
            <a:off x="1738517" y="5607075"/>
            <a:ext cx="2084224" cy="5232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b="1" dirty="0">
                <a:solidFill>
                  <a:srgbClr val="C00000"/>
                </a:solidFill>
                <a:latin typeface="+mn-lt"/>
              </a:rPr>
              <a:t>Basis-Anforderungen: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400" dirty="0">
                <a:latin typeface="+mn-lt"/>
              </a:rPr>
              <a:t>nicht artikuliert, erwartet</a:t>
            </a:r>
          </a:p>
        </p:txBody>
      </p:sp>
      <p:sp>
        <p:nvSpPr>
          <p:cNvPr id="35861" name="Text Box 21"/>
          <p:cNvSpPr txBox="1">
            <a:spLocks noChangeArrowheads="1"/>
          </p:cNvSpPr>
          <p:nvPr/>
        </p:nvSpPr>
        <p:spPr bwMode="auto">
          <a:xfrm>
            <a:off x="608931" y="5724611"/>
            <a:ext cx="867023" cy="288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30000"/>
              </a:spcBef>
              <a:buClr>
                <a:schemeClr val="accent2"/>
              </a:buClr>
              <a:buSzTx/>
              <a:buFont typeface="Audi Type" pitchFamily="34" charset="0"/>
              <a:buNone/>
            </a:pPr>
            <a:r>
              <a:rPr lang="de-CH" altLang="de-DE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ttäuscht</a:t>
            </a:r>
          </a:p>
        </p:txBody>
      </p:sp>
      <p:sp>
        <p:nvSpPr>
          <p:cNvPr id="35862" name="Text Box 22"/>
          <p:cNvSpPr txBox="1">
            <a:spLocks noChangeArrowheads="1"/>
          </p:cNvSpPr>
          <p:nvPr/>
        </p:nvSpPr>
        <p:spPr bwMode="auto">
          <a:xfrm>
            <a:off x="547480" y="4458245"/>
            <a:ext cx="914279" cy="503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30000"/>
              </a:spcBef>
              <a:buClr>
                <a:schemeClr val="accent2"/>
              </a:buClr>
              <a:buSzTx/>
              <a:buFont typeface="Audi Type" pitchFamily="34" charset="0"/>
              <a:buNone/>
            </a:pPr>
            <a:r>
              <a:rPr lang="de-CH" altLang="de-DE" sz="14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icht</a:t>
            </a:r>
            <a:br>
              <a:rPr lang="de-CH" altLang="de-DE" sz="14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de-CH" altLang="de-DE" sz="14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glücklich</a:t>
            </a:r>
          </a:p>
        </p:txBody>
      </p:sp>
      <p:sp>
        <p:nvSpPr>
          <p:cNvPr id="35863" name="Text Box 23"/>
          <p:cNvSpPr txBox="1">
            <a:spLocks noChangeArrowheads="1"/>
          </p:cNvSpPr>
          <p:nvPr/>
        </p:nvSpPr>
        <p:spPr bwMode="auto">
          <a:xfrm>
            <a:off x="491351" y="3186658"/>
            <a:ext cx="1024950" cy="503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30000"/>
              </a:spcBef>
              <a:buClr>
                <a:schemeClr val="accent2"/>
              </a:buClr>
              <a:buSzTx/>
              <a:buFont typeface="Audi Type" pitchFamily="34" charset="0"/>
              <a:buNone/>
            </a:pPr>
            <a:r>
              <a:rPr lang="de-CH" altLang="de-DE" sz="14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fortiges</a:t>
            </a:r>
            <a:br>
              <a:rPr lang="de-CH" altLang="de-DE" sz="14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de-CH" altLang="de-DE" sz="14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lücksgefühl</a:t>
            </a:r>
          </a:p>
        </p:txBody>
      </p:sp>
      <p:sp>
        <p:nvSpPr>
          <p:cNvPr id="35864" name="Text Box 24"/>
          <p:cNvSpPr txBox="1">
            <a:spLocks noChangeArrowheads="1"/>
          </p:cNvSpPr>
          <p:nvPr/>
        </p:nvSpPr>
        <p:spPr bwMode="auto">
          <a:xfrm>
            <a:off x="402164" y="2129383"/>
            <a:ext cx="1042840" cy="288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30000"/>
              </a:spcBef>
              <a:buClr>
                <a:schemeClr val="accent2"/>
              </a:buClr>
              <a:buSzTx/>
              <a:buFont typeface="Audi Type" pitchFamily="34" charset="0"/>
              <a:buNone/>
            </a:pPr>
            <a:r>
              <a:rPr lang="de-CH" altLang="de-DE" sz="14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geisterung</a:t>
            </a:r>
          </a:p>
        </p:txBody>
      </p:sp>
      <p:sp>
        <p:nvSpPr>
          <p:cNvPr id="35865" name="AutoShape 25"/>
          <p:cNvSpPr>
            <a:spLocks noChangeArrowheads="1"/>
          </p:cNvSpPr>
          <p:nvPr/>
        </p:nvSpPr>
        <p:spPr bwMode="auto">
          <a:xfrm>
            <a:off x="878414" y="5156745"/>
            <a:ext cx="250825" cy="371475"/>
          </a:xfrm>
          <a:prstGeom prst="upArrow">
            <a:avLst>
              <a:gd name="adj1" fmla="val 50000"/>
              <a:gd name="adj2" fmla="val 37025"/>
            </a:avLst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36000" rIns="36000" bIns="36000" anchor="ctr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30000"/>
              </a:spcBef>
              <a:buClr>
                <a:schemeClr val="accent2"/>
              </a:buClr>
              <a:buSzTx/>
              <a:buFont typeface="Audi Type" pitchFamily="34" charset="0"/>
              <a:buNone/>
            </a:pPr>
            <a:endParaRPr lang="de-DE" altLang="de-DE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866" name="AutoShape 26"/>
          <p:cNvSpPr>
            <a:spLocks noChangeArrowheads="1"/>
          </p:cNvSpPr>
          <p:nvPr/>
        </p:nvSpPr>
        <p:spPr bwMode="auto">
          <a:xfrm>
            <a:off x="878414" y="3886745"/>
            <a:ext cx="250825" cy="371475"/>
          </a:xfrm>
          <a:prstGeom prst="upArrow">
            <a:avLst>
              <a:gd name="adj1" fmla="val 50000"/>
              <a:gd name="adj2" fmla="val 37025"/>
            </a:avLst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36000" rIns="36000" bIns="36000" anchor="ctr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30000"/>
              </a:spcBef>
              <a:buClr>
                <a:schemeClr val="accent2"/>
              </a:buClr>
              <a:buSzTx/>
              <a:buFont typeface="Audi Type" pitchFamily="34" charset="0"/>
              <a:buNone/>
            </a:pPr>
            <a:endParaRPr lang="de-DE" altLang="de-DE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867" name="AutoShape 27"/>
          <p:cNvSpPr>
            <a:spLocks noChangeArrowheads="1"/>
          </p:cNvSpPr>
          <p:nvPr/>
        </p:nvSpPr>
        <p:spPr bwMode="auto">
          <a:xfrm>
            <a:off x="878414" y="2615158"/>
            <a:ext cx="250825" cy="371475"/>
          </a:xfrm>
          <a:prstGeom prst="upArrow">
            <a:avLst>
              <a:gd name="adj1" fmla="val 50000"/>
              <a:gd name="adj2" fmla="val 37025"/>
            </a:avLst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36000" rIns="36000" bIns="36000" anchor="ctr">
            <a:spAutoFit/>
          </a:bodyPr>
          <a:lstStyle>
            <a:lvl1pPr>
              <a:lnSpc>
                <a:spcPts val="2200"/>
              </a:lnSpc>
              <a:spcBef>
                <a:spcPts val="800"/>
              </a:spcBef>
              <a:buClr>
                <a:srgbClr val="969696"/>
              </a:buClr>
              <a:buSzPct val="7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1pPr>
            <a:lvl2pPr marL="742950" indent="-28575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2pPr>
            <a:lvl3pPr marL="11430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3pPr>
            <a:lvl4pPr marL="16002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4pPr>
            <a:lvl5pPr marL="2057400" indent="-228600">
              <a:lnSpc>
                <a:spcPts val="2200"/>
              </a:lnSpc>
              <a:spcBef>
                <a:spcPts val="800"/>
              </a:spcBef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50000"/>
              <a:buFont typeface="Zapf Dingbats" pitchFamily="1" charset="2"/>
              <a:buBlip>
                <a:blip r:embed="rId4"/>
              </a:buBlip>
              <a:defRPr>
                <a:solidFill>
                  <a:schemeClr val="tx1"/>
                </a:solidFill>
                <a:latin typeface="Frutiger 45 Light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30000"/>
              </a:spcBef>
              <a:buClr>
                <a:schemeClr val="accent2"/>
              </a:buClr>
              <a:buSzTx/>
              <a:buFont typeface="Audi Type" pitchFamily="34" charset="0"/>
              <a:buNone/>
            </a:pPr>
            <a:endParaRPr lang="de-DE" altLang="de-DE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87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Kundenbedürfnisse – Kano-Modell</a:t>
            </a:r>
            <a:endParaRPr lang="en-GB" alt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F0E6C66-6E8B-69C3-4814-9EBC2DB891ED}"/>
              </a:ext>
            </a:extLst>
          </p:cNvPr>
          <p:cNvSpPr txBox="1"/>
          <p:nvPr/>
        </p:nvSpPr>
        <p:spPr>
          <a:xfrm>
            <a:off x="1364835" y="3963052"/>
            <a:ext cx="231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E6DECF8-C2C2-BD8A-347E-F55F0072B7A3}"/>
              </a:ext>
            </a:extLst>
          </p:cNvPr>
          <p:cNvSpPr txBox="1"/>
          <p:nvPr/>
        </p:nvSpPr>
        <p:spPr>
          <a:xfrm>
            <a:off x="8566125" y="3963052"/>
            <a:ext cx="231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800" dirty="0"/>
              <a:t>+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318C205-DAF6-EC49-09E5-707A37A89517}"/>
              </a:ext>
            </a:extLst>
          </p:cNvPr>
          <p:cNvSpPr txBox="1"/>
          <p:nvPr/>
        </p:nvSpPr>
        <p:spPr>
          <a:xfrm>
            <a:off x="4671888" y="5604291"/>
            <a:ext cx="4292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 b="1" dirty="0">
                <a:solidFill>
                  <a:schemeClr val="accent1">
                    <a:lumMod val="75000"/>
                  </a:schemeClr>
                </a:solidFill>
              </a:rPr>
              <a:t>Beispiele für Anforderungen unserer Mitglieder? 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3CECF223-F99F-E7FE-7515-2C26B4C1D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8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0362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9" grpId="0" animBg="1"/>
      <p:bldP spid="56" grpId="0" animBg="1"/>
      <p:bldP spid="57" grpId="0" animBg="1"/>
      <p:bldP spid="58" grpId="0" animBg="1"/>
      <p:bldP spid="59" grpId="0" animBg="1"/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ChangeArrowheads="1"/>
          </p:cNvSpPr>
          <p:nvPr/>
        </p:nvSpPr>
        <p:spPr bwMode="auto">
          <a:xfrm>
            <a:off x="304800" y="334108"/>
            <a:ext cx="7696200" cy="42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547" tIns="41274" rIns="82547" bIns="41274">
            <a:spAutoFit/>
          </a:bodyPr>
          <a:lstStyle>
            <a:lvl1pPr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endParaRPr lang="de-DE" altLang="de-DE" sz="2215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13315" name="Rectangle 3"/>
          <p:cNvSpPr>
            <a:spLocks noChangeArrowheads="1"/>
          </p:cNvSpPr>
          <p:nvPr/>
        </p:nvSpPr>
        <p:spPr bwMode="auto">
          <a:xfrm>
            <a:off x="457200" y="52755"/>
            <a:ext cx="7162800" cy="699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9194" tIns="33990" rIns="69194" bIns="33990">
            <a:spAutoFit/>
          </a:bodyPr>
          <a:lstStyle>
            <a:lvl1pPr defTabSz="757238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defTabSz="757238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defTabSz="757238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defTabSz="757238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defTabSz="757238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defTabSz="757238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defTabSz="757238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defTabSz="757238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defTabSz="757238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5000"/>
              </a:lnSpc>
              <a:spcAft>
                <a:spcPct val="0"/>
              </a:spcAft>
            </a:pPr>
            <a:endParaRPr lang="de-DE" altLang="de-DE" sz="2215">
              <a:solidFill>
                <a:schemeClr val="tx1"/>
              </a:solidFill>
              <a:latin typeface="GillSans" charset="0"/>
            </a:endParaRPr>
          </a:p>
          <a:p>
            <a:pPr>
              <a:lnSpc>
                <a:spcPct val="100000"/>
              </a:lnSpc>
              <a:spcAft>
                <a:spcPct val="0"/>
              </a:spcAft>
            </a:pPr>
            <a:endParaRPr lang="de-DE" altLang="de-DE" sz="2215">
              <a:solidFill>
                <a:schemeClr val="tx1"/>
              </a:solidFill>
              <a:latin typeface="GillSans" charset="0"/>
            </a:endParaRPr>
          </a:p>
        </p:txBody>
      </p:sp>
      <p:sp>
        <p:nvSpPr>
          <p:cNvPr id="13316" name="Rectangle 11"/>
          <p:cNvSpPr>
            <a:spLocks noGrp="1" noChangeArrowheads="1"/>
          </p:cNvSpPr>
          <p:nvPr>
            <p:ph type="title"/>
          </p:nvPr>
        </p:nvSpPr>
        <p:spPr/>
        <p:txBody>
          <a:bodyPr vert="horz" lIns="91350" tIns="45677" rIns="91350" bIns="45677" rtlCol="0" anchor="ctr">
            <a:normAutofit/>
          </a:bodyPr>
          <a:lstStyle/>
          <a:p>
            <a:r>
              <a:rPr lang="de-DE" altLang="de-DE" sz="3200" dirty="0"/>
              <a:t>Kreativitätsfördernde Umfelder</a:t>
            </a:r>
            <a:endParaRPr lang="de-CH" altLang="de-DE" sz="3200" dirty="0"/>
          </a:p>
        </p:txBody>
      </p:sp>
      <p:sp>
        <p:nvSpPr>
          <p:cNvPr id="13319" name="Rectangle 17"/>
          <p:cNvSpPr>
            <a:spLocks noChangeArrowheads="1"/>
          </p:cNvSpPr>
          <p:nvPr/>
        </p:nvSpPr>
        <p:spPr bwMode="auto">
          <a:xfrm>
            <a:off x="298938" y="6021360"/>
            <a:ext cx="3352800" cy="225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547" tIns="41274" rIns="82547" bIns="41274">
            <a:spAutoFit/>
          </a:bodyPr>
          <a:lstStyle>
            <a:lvl1pPr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defTabSz="885825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defTabSz="88582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de-DE" altLang="de-DE" sz="9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Quelle: Manager Magazin: Kinder an die Macht</a:t>
            </a:r>
          </a:p>
        </p:txBody>
      </p:sp>
      <p:sp>
        <p:nvSpPr>
          <p:cNvPr id="13320" name="Text Box 18"/>
          <p:cNvSpPr txBox="1">
            <a:spLocks noChangeArrowheads="1"/>
          </p:cNvSpPr>
          <p:nvPr/>
        </p:nvSpPr>
        <p:spPr bwMode="auto">
          <a:xfrm>
            <a:off x="491554" y="2179190"/>
            <a:ext cx="3864422" cy="2997744"/>
          </a:xfrm>
          <a:prstGeom prst="rect">
            <a:avLst/>
          </a:prstGeom>
          <a:noFill/>
          <a:ln w="2857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defTabSz="739775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defTabSz="739775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defTabSz="739775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defTabSz="739775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defTabSz="739775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defTabSz="7397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defTabSz="7397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defTabSz="7397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defTabSz="739775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In der Natur	28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Verein/ Club	  4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Sport	  5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Badewanne	  1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Fernsehen	  5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Essen	  4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Spiel und Hobby	  4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Ferien	13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Geschäftsreisen	11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an anderen Orten	  1%</a:t>
            </a:r>
          </a:p>
        </p:txBody>
      </p:sp>
      <p:sp>
        <p:nvSpPr>
          <p:cNvPr id="13321" name="Text Box 19"/>
          <p:cNvSpPr txBox="1">
            <a:spLocks noChangeArrowheads="1"/>
          </p:cNvSpPr>
          <p:nvPr/>
        </p:nvSpPr>
        <p:spPr bwMode="auto">
          <a:xfrm>
            <a:off x="4860031" y="2197900"/>
            <a:ext cx="3792415" cy="1520416"/>
          </a:xfrm>
          <a:prstGeom prst="rect">
            <a:avLst/>
          </a:prstGeom>
          <a:noFill/>
          <a:ln w="2857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defTabSz="825500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defTabSz="825500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defTabSz="825500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defTabSz="825500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defTabSz="825500" eaLnBrk="0" hangingPunct="0"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defTabSz="8255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defTabSz="8255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defTabSz="8255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defTabSz="8255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tabLst>
                <a:tab pos="3671888" algn="r"/>
              </a:tabLs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In anstrengenden Sitzungen	  6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In langweiligen Sitzungen 	10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Mit Kreativitätstechniken	 1%</a:t>
            </a:r>
          </a:p>
          <a:p>
            <a:pPr>
              <a:lnSpc>
                <a:spcPct val="100000"/>
              </a:lnSpc>
              <a:spcAft>
                <a:spcPct val="2000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Am Arbeitsplatz	  4%</a:t>
            </a:r>
          </a:p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de-DE" altLang="de-DE" sz="1600" b="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In der Pause	  3%</a:t>
            </a:r>
          </a:p>
        </p:txBody>
      </p:sp>
      <p:sp>
        <p:nvSpPr>
          <p:cNvPr id="13322" name="Text Box 20"/>
          <p:cNvSpPr txBox="1">
            <a:spLocks noChangeArrowheads="1"/>
          </p:cNvSpPr>
          <p:nvPr/>
        </p:nvSpPr>
        <p:spPr bwMode="auto">
          <a:xfrm>
            <a:off x="418283" y="1717120"/>
            <a:ext cx="408170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de-DE" altLang="de-DE" sz="20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Ausserhalb</a:t>
            </a:r>
            <a:r>
              <a:rPr lang="de-DE" altLang="de-DE" sz="20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des Unternehmens (76%)</a:t>
            </a:r>
          </a:p>
        </p:txBody>
      </p:sp>
      <p:sp>
        <p:nvSpPr>
          <p:cNvPr id="13323" name="Text Box 21"/>
          <p:cNvSpPr txBox="1">
            <a:spLocks noChangeArrowheads="1"/>
          </p:cNvSpPr>
          <p:nvPr/>
        </p:nvSpPr>
        <p:spPr bwMode="auto">
          <a:xfrm>
            <a:off x="4717020" y="1717940"/>
            <a:ext cx="267502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50000"/>
              </a:spcAft>
              <a:defRPr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de-DE" altLang="de-DE" sz="20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Im Unternehmen (24%)</a:t>
            </a: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8540127F-D7CD-B9B9-A671-FBFEE3BEF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42AD375-037F-43D0-B059-5172DA06796A}" type="slidenum">
              <a:rPr lang="de-CH" smtClean="0">
                <a:solidFill>
                  <a:schemeClr val="accent1">
                    <a:lumMod val="75000"/>
                  </a:schemeClr>
                </a:solidFill>
              </a:rPr>
              <a:pPr/>
              <a:t>9</a:t>
            </a:fld>
            <a:endParaRPr lang="de-CH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717765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q0Yp017cU6953ZGV8wQ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q0Yp017cU6953ZGV8wQ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q0Yp017cU6953ZGV8wQ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q0Yp017cU6953ZGV8wQSg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24</Words>
  <Application>Microsoft Office PowerPoint</Application>
  <PresentationFormat>Bildschirmpräsentation (4:3)</PresentationFormat>
  <Paragraphs>145</Paragraphs>
  <Slides>15</Slides>
  <Notes>1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ＭＳ Ｐゴシック</vt:lpstr>
      <vt:lpstr>Arial</vt:lpstr>
      <vt:lpstr>Arial Black</vt:lpstr>
      <vt:lpstr>Audi Type</vt:lpstr>
      <vt:lpstr>Calibri</vt:lpstr>
      <vt:lpstr>GillSans</vt:lpstr>
      <vt:lpstr>Times</vt:lpstr>
      <vt:lpstr>Times New Roman</vt:lpstr>
      <vt:lpstr>Zapf Dingbats</vt:lpstr>
      <vt:lpstr>Larissa-Design</vt:lpstr>
      <vt:lpstr>Innovatives Denken und Handeln in den Clubs</vt:lpstr>
      <vt:lpstr>Mein Club</vt:lpstr>
      <vt:lpstr>«innovativ» oder nicht?</vt:lpstr>
      <vt:lpstr>Was bedeutet also „innovativ“?</vt:lpstr>
      <vt:lpstr>Innovation = umgesetzte gute Idee</vt:lpstr>
      <vt:lpstr>Das Problem richtig sehen</vt:lpstr>
      <vt:lpstr>Denken in «Problemfenstern»</vt:lpstr>
      <vt:lpstr>Kundenbedürfnisse – Kano-Modell</vt:lpstr>
      <vt:lpstr>Kreativitätsfördernde Umfelder</vt:lpstr>
      <vt:lpstr>Worauf basiert Kreativität?</vt:lpstr>
      <vt:lpstr>Beispiel für «zufällige» Anreize</vt:lpstr>
      <vt:lpstr>Einfluss der Teamzusammensetzung</vt:lpstr>
      <vt:lpstr>Fazit</vt:lpstr>
      <vt:lpstr>Der erste Schritt ist oft der schwierigste</vt:lpstr>
      <vt:lpstr>Vielen Dank für eure Aufmerksamke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nathlon-Club Zürichsee-Oberland</dc:title>
  <dc:creator>Beda</dc:creator>
  <cp:lastModifiedBy>Beat Birkenmeier</cp:lastModifiedBy>
  <cp:revision>374</cp:revision>
  <cp:lastPrinted>2024-01-22T07:39:46Z</cp:lastPrinted>
  <dcterms:created xsi:type="dcterms:W3CDTF">2012-01-23T11:45:03Z</dcterms:created>
  <dcterms:modified xsi:type="dcterms:W3CDTF">2024-09-03T08:39:58Z</dcterms:modified>
</cp:coreProperties>
</file>